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04" r:id="rId1"/>
  </p:sldMasterIdLst>
  <p:notesMasterIdLst>
    <p:notesMasterId r:id="rId3"/>
  </p:notesMasterIdLst>
  <p:handoutMasterIdLst>
    <p:handoutMasterId r:id="rId4"/>
  </p:handoutMasterIdLst>
  <p:sldIdLst>
    <p:sldId id="1029" r:id="rId2"/>
  </p:sldIdLst>
  <p:sldSz cx="9144000" cy="5143500" type="screen16x9"/>
  <p:notesSz cx="6797675" cy="9926638"/>
  <p:custDataLst>
    <p:tags r:id="rId5"/>
  </p:custDataLst>
  <p:defaultTextStyle>
    <a:defPPr>
      <a:defRPr lang="de-DE"/>
    </a:defPPr>
    <a:lvl1pPr marL="0" indent="0" algn="l" defTabSz="914400" rtl="0" eaLnBrk="1" latinLnBrk="0" hangingPunct="1">
      <a:lnSpc>
        <a:spcPct val="100000"/>
      </a:lnSpc>
      <a:spcBef>
        <a:spcPts val="1200"/>
      </a:spcBef>
      <a:buFont typeface="Arial" panose="020B0604020202020204" pitchFamily="34" charset="0"/>
      <a:buNone/>
      <a:defRPr sz="1400" b="1" kern="1200">
        <a:solidFill>
          <a:srgbClr val="C51718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lnSpc>
        <a:spcPct val="100000"/>
      </a:lnSpc>
      <a:spcBef>
        <a:spcPts val="1200"/>
      </a:spcBef>
      <a:buFont typeface="Arial" panose="020B0604020202020204" pitchFamily="34" charset="0"/>
      <a:buNone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80000" indent="-180000" algn="l" defTabSz="914400" rtl="0" eaLnBrk="1" latinLnBrk="0" hangingPunct="1">
      <a:lnSpc>
        <a:spcPct val="100000"/>
      </a:lnSpc>
      <a:spcBef>
        <a:spcPts val="300"/>
      </a:spcBef>
      <a:spcAft>
        <a:spcPts val="0"/>
      </a:spcAft>
      <a:buFont typeface="Symbol" panose="05050102010706020507" pitchFamily="18" charset="2"/>
      <a:buChar char="-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360000" indent="-180000" algn="l" defTabSz="914400" rtl="0" eaLnBrk="1" latinLnBrk="0" hangingPunct="1">
      <a:lnSpc>
        <a:spcPct val="100000"/>
      </a:lnSpc>
      <a:spcBef>
        <a:spcPts val="100"/>
      </a:spcBef>
      <a:spcAft>
        <a:spcPts val="0"/>
      </a:spcAft>
      <a:buFont typeface="Arial" panose="020B0604020202020204" pitchFamily="34" charset="0"/>
      <a:buChar char="•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540000" indent="-180000" algn="l" defTabSz="914400" rtl="0" eaLnBrk="1" latinLnBrk="0" hangingPunct="1">
      <a:lnSpc>
        <a:spcPct val="100000"/>
      </a:lnSpc>
      <a:spcBef>
        <a:spcPts val="0"/>
      </a:spcBef>
      <a:buFont typeface="Segoe UI" panose="020B0502040204020203" pitchFamily="34" charset="0"/>
      <a:buChar char="‑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720000" indent="-180000" algn="l" defTabSz="914400" rtl="0" eaLnBrk="1" latinLnBrk="0" hangingPunct="1">
      <a:lnSpc>
        <a:spcPct val="100000"/>
      </a:lnSpc>
      <a:spcBef>
        <a:spcPts val="0"/>
      </a:spcBef>
      <a:buFont typeface="Segoe UI" panose="020B0502040204020203" pitchFamily="34" charset="0"/>
      <a:buChar char="‑"/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900000" indent="-180000" algn="l" defTabSz="914400" rtl="0" eaLnBrk="1" latinLnBrk="0" hangingPunct="1">
      <a:lnSpc>
        <a:spcPct val="100000"/>
      </a:lnSpc>
      <a:spcBef>
        <a:spcPts val="0"/>
      </a:spcBef>
      <a:buFont typeface="Segoe UI" panose="020B0502040204020203" pitchFamily="34" charset="0"/>
      <a:buChar char="‑"/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080000" indent="-180000" algn="l" defTabSz="914400" rtl="0" eaLnBrk="1" latinLnBrk="0" hangingPunct="1">
      <a:lnSpc>
        <a:spcPct val="100000"/>
      </a:lnSpc>
      <a:spcBef>
        <a:spcPts val="0"/>
      </a:spcBef>
      <a:buFont typeface="Segoe UI" panose="020B0502040204020203" pitchFamily="34" charset="0"/>
      <a:buChar char="‑"/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260000" indent="-180000" algn="l" defTabSz="914400" rtl="0" eaLnBrk="1" latinLnBrk="0" hangingPunct="1">
      <a:lnSpc>
        <a:spcPct val="100000"/>
      </a:lnSpc>
      <a:spcBef>
        <a:spcPts val="0"/>
      </a:spcBef>
      <a:buFont typeface="Segoe UI" panose="020B0502040204020203" pitchFamily="34" charset="0"/>
      <a:buChar char="‑"/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94" userDrawn="1">
          <p15:clr>
            <a:srgbClr val="A4A3A4"/>
          </p15:clr>
        </p15:guide>
        <p15:guide id="2" orient="horz" pos="2799" userDrawn="1">
          <p15:clr>
            <a:srgbClr val="A4A3A4"/>
          </p15:clr>
        </p15:guide>
        <p15:guide id="4" orient="horz" pos="282" userDrawn="1">
          <p15:clr>
            <a:srgbClr val="A4A3A4"/>
          </p15:clr>
        </p15:guide>
        <p15:guide id="6" pos="5460">
          <p15:clr>
            <a:srgbClr val="A4A3A4"/>
          </p15:clr>
        </p15:guide>
        <p15:guide id="7" pos="5760" userDrawn="1">
          <p15:clr>
            <a:srgbClr val="A4A3A4"/>
          </p15:clr>
        </p15:guide>
        <p15:guide id="8" pos="2880" userDrawn="1">
          <p15:clr>
            <a:srgbClr val="A4A3A4"/>
          </p15:clr>
        </p15:guide>
        <p15:guide id="9" pos="1905" userDrawn="1">
          <p15:clr>
            <a:srgbClr val="A4A3A4"/>
          </p15:clr>
        </p15:guide>
        <p15:guide id="10" pos="2041" userDrawn="1">
          <p15:clr>
            <a:srgbClr val="A4A3A4"/>
          </p15:clr>
        </p15:guide>
        <p15:guide id="11" pos="3833" userDrawn="1">
          <p15:clr>
            <a:srgbClr val="A4A3A4"/>
          </p15:clr>
        </p15:guide>
        <p15:guide id="12" pos="3674" userDrawn="1">
          <p15:clr>
            <a:srgbClr val="A4A3A4"/>
          </p15:clr>
        </p15:guide>
        <p15:guide id="13" pos="295" userDrawn="1">
          <p15:clr>
            <a:srgbClr val="A4A3A4"/>
          </p15:clr>
        </p15:guide>
        <p15:guide id="14" orient="horz" pos="810">
          <p15:clr>
            <a:srgbClr val="A4A3A4"/>
          </p15:clr>
        </p15:guide>
        <p15:guide id="15" orient="horz" pos="2764">
          <p15:clr>
            <a:srgbClr val="A4A3A4"/>
          </p15:clr>
        </p15:guide>
        <p15:guide id="16" pos="5477">
          <p15:clr>
            <a:srgbClr val="A4A3A4"/>
          </p15:clr>
        </p15:guide>
        <p15:guide id="17" pos="113" userDrawn="1">
          <p15:clr>
            <a:srgbClr val="A4A3A4"/>
          </p15:clr>
        </p15:guide>
        <p15:guide id="18" pos="4220">
          <p15:clr>
            <a:srgbClr val="A4A3A4"/>
          </p15:clr>
        </p15:guide>
        <p15:guide id="19" pos="4490" userDrawn="1">
          <p15:clr>
            <a:srgbClr val="A4A3A4"/>
          </p15:clr>
        </p15:guide>
        <p15:guide id="20" pos="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arika" initials="M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C847A"/>
    <a:srgbClr val="68B022"/>
    <a:srgbClr val="E28A00"/>
    <a:srgbClr val="C51718"/>
    <a:srgbClr val="007734"/>
    <a:srgbClr val="C00000"/>
    <a:srgbClr val="ED6364"/>
    <a:srgbClr val="878787"/>
    <a:srgbClr val="C0D2BB"/>
    <a:srgbClr val="77A6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137" autoAdjust="0"/>
    <p:restoredTop sz="94714" autoAdjust="0"/>
  </p:normalViewPr>
  <p:slideViewPr>
    <p:cSldViewPr snapToGrid="0" snapToObjects="1">
      <p:cViewPr varScale="1">
        <p:scale>
          <a:sx n="156" d="100"/>
          <a:sy n="156" d="100"/>
        </p:scale>
        <p:origin x="240" y="144"/>
      </p:cViewPr>
      <p:guideLst>
        <p:guide orient="horz" pos="894"/>
        <p:guide orient="horz" pos="2799"/>
        <p:guide orient="horz" pos="282"/>
        <p:guide pos="5460"/>
        <p:guide pos="5760"/>
        <p:guide pos="2880"/>
        <p:guide pos="1905"/>
        <p:guide pos="2041"/>
        <p:guide pos="3833"/>
        <p:guide pos="3674"/>
        <p:guide pos="295"/>
        <p:guide orient="horz" pos="810"/>
        <p:guide orient="horz" pos="2764"/>
        <p:guide pos="5477"/>
        <p:guide pos="113"/>
        <p:guide pos="4220"/>
        <p:guide pos="4490"/>
        <p:guide pos="68"/>
      </p:guideLst>
    </p:cSldViewPr>
  </p:slideViewPr>
  <p:outlineViewPr>
    <p:cViewPr>
      <p:scale>
        <a:sx n="33" d="100"/>
        <a:sy n="33" d="100"/>
      </p:scale>
      <p:origin x="0" y="20148"/>
    </p:cViewPr>
  </p:outlineViewPr>
  <p:notesTextViewPr>
    <p:cViewPr>
      <p:scale>
        <a:sx n="50" d="100"/>
        <a:sy n="50" d="100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 snapToObjects="1">
      <p:cViewPr varScale="1">
        <p:scale>
          <a:sx n="63" d="100"/>
          <a:sy n="63" d="100"/>
        </p:scale>
        <p:origin x="2213" y="5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2ED684-4FFB-4AC0-A315-98B12B67E1AA}" type="datetimeFigureOut">
              <a:rPr lang="en-US" smtClean="0"/>
              <a:t>4/28/2022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5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5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DD8082-A6FB-4A5F-9879-683E906656C8}" type="slidenum">
              <a:rPr lang="en-US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27770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0FF897-6FC7-4D58-A6E1-328C2036FC88}" type="datetimeFigureOut">
              <a:rPr lang="de-DE" smtClean="0"/>
              <a:t>28.04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BAA620-6759-4E5B-93B0-620E7D630B5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10052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svg"/><Relationship Id="rId2" Type="http://schemas.openxmlformats.org/officeDocument/2006/relationships/tags" Target="../tags/tag45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svg"/><Relationship Id="rId2" Type="http://schemas.openxmlformats.org/officeDocument/2006/relationships/tags" Target="../tags/tag4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| Colored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3BA754A-BCA4-4228-B76D-4A0FF72A04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789878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8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3BA754A-BCA4-4228-B76D-4A0FF72A04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1023800-DF50-4CE6-8C08-D9FCF74EB3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5191" cy="5143500"/>
          </a:xfrm>
          <a:custGeom>
            <a:avLst/>
            <a:gdLst>
              <a:gd name="connsiteX0" fmla="*/ 11616773 w 12193588"/>
              <a:gd name="connsiteY0" fmla="*/ 766683 h 6858000"/>
              <a:gd name="connsiteX1" fmla="*/ 11606920 w 12193588"/>
              <a:gd name="connsiteY1" fmla="*/ 776535 h 6858000"/>
              <a:gd name="connsiteX2" fmla="*/ 11616773 w 12193588"/>
              <a:gd name="connsiteY2" fmla="*/ 786388 h 6858000"/>
              <a:gd name="connsiteX3" fmla="*/ 11626627 w 12193588"/>
              <a:gd name="connsiteY3" fmla="*/ 776535 h 6858000"/>
              <a:gd name="connsiteX4" fmla="*/ 11616773 w 12193588"/>
              <a:gd name="connsiteY4" fmla="*/ 766683 h 6858000"/>
              <a:gd name="connsiteX5" fmla="*/ 11063577 w 12193588"/>
              <a:gd name="connsiteY5" fmla="*/ 714599 h 6858000"/>
              <a:gd name="connsiteX6" fmla="*/ 11111436 w 12193588"/>
              <a:gd name="connsiteY6" fmla="*/ 770903 h 6858000"/>
              <a:gd name="connsiteX7" fmla="*/ 11111436 w 12193588"/>
              <a:gd name="connsiteY7" fmla="*/ 773720 h 6858000"/>
              <a:gd name="connsiteX8" fmla="*/ 11110029 w 12193588"/>
              <a:gd name="connsiteY8" fmla="*/ 773720 h 6858000"/>
              <a:gd name="connsiteX9" fmla="*/ 11004456 w 12193588"/>
              <a:gd name="connsiteY9" fmla="*/ 773720 h 6858000"/>
              <a:gd name="connsiteX10" fmla="*/ 11063577 w 12193588"/>
              <a:gd name="connsiteY10" fmla="*/ 714599 h 6858000"/>
              <a:gd name="connsiteX11" fmla="*/ 11435366 w 12193588"/>
              <a:gd name="connsiteY11" fmla="*/ 690142 h 6858000"/>
              <a:gd name="connsiteX12" fmla="*/ 11450674 w 12193588"/>
              <a:gd name="connsiteY12" fmla="*/ 692078 h 6858000"/>
              <a:gd name="connsiteX13" fmla="*/ 11452081 w 12193588"/>
              <a:gd name="connsiteY13" fmla="*/ 692078 h 6858000"/>
              <a:gd name="connsiteX14" fmla="*/ 11450674 w 12193588"/>
              <a:gd name="connsiteY14" fmla="*/ 693485 h 6858000"/>
              <a:gd name="connsiteX15" fmla="*/ 11430967 w 12193588"/>
              <a:gd name="connsiteY15" fmla="*/ 710377 h 6858000"/>
              <a:gd name="connsiteX16" fmla="*/ 11414075 w 12193588"/>
              <a:gd name="connsiteY16" fmla="*/ 714599 h 6858000"/>
              <a:gd name="connsiteX17" fmla="*/ 11399999 w 12193588"/>
              <a:gd name="connsiteY17" fmla="*/ 711785 h 6858000"/>
              <a:gd name="connsiteX18" fmla="*/ 11416891 w 12193588"/>
              <a:gd name="connsiteY18" fmla="*/ 697709 h 6858000"/>
              <a:gd name="connsiteX19" fmla="*/ 11435366 w 12193588"/>
              <a:gd name="connsiteY19" fmla="*/ 690142 h 6858000"/>
              <a:gd name="connsiteX20" fmla="*/ 10686333 w 12193588"/>
              <a:gd name="connsiteY20" fmla="*/ 686446 h 6858000"/>
              <a:gd name="connsiteX21" fmla="*/ 10686333 w 12193588"/>
              <a:gd name="connsiteY21" fmla="*/ 913075 h 6858000"/>
              <a:gd name="connsiteX22" fmla="*/ 10725745 w 12193588"/>
              <a:gd name="connsiteY22" fmla="*/ 913075 h 6858000"/>
              <a:gd name="connsiteX23" fmla="*/ 10725745 w 12193588"/>
              <a:gd name="connsiteY23" fmla="*/ 686446 h 6858000"/>
              <a:gd name="connsiteX24" fmla="*/ 9936067 w 12193588"/>
              <a:gd name="connsiteY24" fmla="*/ 686446 h 6858000"/>
              <a:gd name="connsiteX25" fmla="*/ 10019115 w 12193588"/>
              <a:gd name="connsiteY25" fmla="*/ 913075 h 6858000"/>
              <a:gd name="connsiteX26" fmla="*/ 10017708 w 12193588"/>
              <a:gd name="connsiteY26" fmla="*/ 920112 h 6858000"/>
              <a:gd name="connsiteX27" fmla="*/ 9974072 w 12193588"/>
              <a:gd name="connsiteY27" fmla="*/ 959526 h 6858000"/>
              <a:gd name="connsiteX28" fmla="*/ 9948735 w 12193588"/>
              <a:gd name="connsiteY28" fmla="*/ 956711 h 6858000"/>
              <a:gd name="connsiteX29" fmla="*/ 9948735 w 12193588"/>
              <a:gd name="connsiteY29" fmla="*/ 987679 h 6858000"/>
              <a:gd name="connsiteX30" fmla="*/ 9976888 w 12193588"/>
              <a:gd name="connsiteY30" fmla="*/ 991901 h 6858000"/>
              <a:gd name="connsiteX31" fmla="*/ 10054307 w 12193588"/>
              <a:gd name="connsiteY31" fmla="*/ 931373 h 6858000"/>
              <a:gd name="connsiteX32" fmla="*/ 10137358 w 12193588"/>
              <a:gd name="connsiteY32" fmla="*/ 686446 h 6858000"/>
              <a:gd name="connsiteX33" fmla="*/ 10096535 w 12193588"/>
              <a:gd name="connsiteY33" fmla="*/ 686446 h 6858000"/>
              <a:gd name="connsiteX34" fmla="*/ 10041638 w 12193588"/>
              <a:gd name="connsiteY34" fmla="*/ 862399 h 6858000"/>
              <a:gd name="connsiteX35" fmla="*/ 10040231 w 12193588"/>
              <a:gd name="connsiteY35" fmla="*/ 862399 h 6858000"/>
              <a:gd name="connsiteX36" fmla="*/ 9978294 w 12193588"/>
              <a:gd name="connsiteY36" fmla="*/ 686446 h 6858000"/>
              <a:gd name="connsiteX37" fmla="*/ 10859471 w 12193588"/>
              <a:gd name="connsiteY37" fmla="*/ 683631 h 6858000"/>
              <a:gd name="connsiteX38" fmla="*/ 10780643 w 12193588"/>
              <a:gd name="connsiteY38" fmla="*/ 746974 h 6858000"/>
              <a:gd name="connsiteX39" fmla="*/ 10841171 w 12193588"/>
              <a:gd name="connsiteY39" fmla="*/ 813133 h 6858000"/>
              <a:gd name="connsiteX40" fmla="*/ 10887622 w 12193588"/>
              <a:gd name="connsiteY40" fmla="*/ 851138 h 6858000"/>
              <a:gd name="connsiteX41" fmla="*/ 10839764 w 12193588"/>
              <a:gd name="connsiteY41" fmla="*/ 884922 h 6858000"/>
              <a:gd name="connsiteX42" fmla="*/ 10777828 w 12193588"/>
              <a:gd name="connsiteY42" fmla="*/ 870845 h 6858000"/>
              <a:gd name="connsiteX43" fmla="*/ 10777828 w 12193588"/>
              <a:gd name="connsiteY43" fmla="*/ 903222 h 6858000"/>
              <a:gd name="connsiteX44" fmla="*/ 10845395 w 12193588"/>
              <a:gd name="connsiteY44" fmla="*/ 915890 h 6858000"/>
              <a:gd name="connsiteX45" fmla="*/ 10925630 w 12193588"/>
              <a:gd name="connsiteY45" fmla="*/ 848323 h 6858000"/>
              <a:gd name="connsiteX46" fmla="*/ 10858063 w 12193588"/>
              <a:gd name="connsiteY46" fmla="*/ 779349 h 6858000"/>
              <a:gd name="connsiteX47" fmla="*/ 10820057 w 12193588"/>
              <a:gd name="connsiteY47" fmla="*/ 744159 h 6858000"/>
              <a:gd name="connsiteX48" fmla="*/ 10860878 w 12193588"/>
              <a:gd name="connsiteY48" fmla="*/ 714599 h 6858000"/>
              <a:gd name="connsiteX49" fmla="*/ 10915775 w 12193588"/>
              <a:gd name="connsiteY49" fmla="*/ 727267 h 6858000"/>
              <a:gd name="connsiteX50" fmla="*/ 10915775 w 12193588"/>
              <a:gd name="connsiteY50" fmla="*/ 693485 h 6858000"/>
              <a:gd name="connsiteX51" fmla="*/ 10859471 w 12193588"/>
              <a:gd name="connsiteY51" fmla="*/ 683631 h 6858000"/>
              <a:gd name="connsiteX52" fmla="*/ 10276712 w 12193588"/>
              <a:gd name="connsiteY52" fmla="*/ 683631 h 6858000"/>
              <a:gd name="connsiteX53" fmla="*/ 10211962 w 12193588"/>
              <a:gd name="connsiteY53" fmla="*/ 704746 h 6858000"/>
              <a:gd name="connsiteX54" fmla="*/ 10211962 w 12193588"/>
              <a:gd name="connsiteY54" fmla="*/ 686446 h 6858000"/>
              <a:gd name="connsiteX55" fmla="*/ 10172548 w 12193588"/>
              <a:gd name="connsiteY55" fmla="*/ 686446 h 6858000"/>
              <a:gd name="connsiteX56" fmla="*/ 10172548 w 12193588"/>
              <a:gd name="connsiteY56" fmla="*/ 913075 h 6858000"/>
              <a:gd name="connsiteX57" fmla="*/ 10211962 w 12193588"/>
              <a:gd name="connsiteY57" fmla="*/ 913075 h 6858000"/>
              <a:gd name="connsiteX58" fmla="*/ 10211962 w 12193588"/>
              <a:gd name="connsiteY58" fmla="*/ 731491 h 6858000"/>
              <a:gd name="connsiteX59" fmla="*/ 10257005 w 12193588"/>
              <a:gd name="connsiteY59" fmla="*/ 714599 h 6858000"/>
              <a:gd name="connsiteX60" fmla="*/ 10300641 w 12193588"/>
              <a:gd name="connsiteY60" fmla="*/ 766681 h 6858000"/>
              <a:gd name="connsiteX61" fmla="*/ 10300641 w 12193588"/>
              <a:gd name="connsiteY61" fmla="*/ 911666 h 6858000"/>
              <a:gd name="connsiteX62" fmla="*/ 10340055 w 12193588"/>
              <a:gd name="connsiteY62" fmla="*/ 911666 h 6858000"/>
              <a:gd name="connsiteX63" fmla="*/ 10340055 w 12193588"/>
              <a:gd name="connsiteY63" fmla="*/ 758235 h 6858000"/>
              <a:gd name="connsiteX64" fmla="*/ 10335833 w 12193588"/>
              <a:gd name="connsiteY64" fmla="*/ 728676 h 6858000"/>
              <a:gd name="connsiteX65" fmla="*/ 10383692 w 12193588"/>
              <a:gd name="connsiteY65" fmla="*/ 714599 h 6858000"/>
              <a:gd name="connsiteX66" fmla="*/ 10430143 w 12193588"/>
              <a:gd name="connsiteY66" fmla="*/ 768090 h 6858000"/>
              <a:gd name="connsiteX67" fmla="*/ 10430143 w 12193588"/>
              <a:gd name="connsiteY67" fmla="*/ 913075 h 6858000"/>
              <a:gd name="connsiteX68" fmla="*/ 10469557 w 12193588"/>
              <a:gd name="connsiteY68" fmla="*/ 913075 h 6858000"/>
              <a:gd name="connsiteX69" fmla="*/ 10469557 w 12193588"/>
              <a:gd name="connsiteY69" fmla="*/ 763866 h 6858000"/>
              <a:gd name="connsiteX70" fmla="*/ 10397768 w 12193588"/>
              <a:gd name="connsiteY70" fmla="*/ 683631 h 6858000"/>
              <a:gd name="connsiteX71" fmla="*/ 10327387 w 12193588"/>
              <a:gd name="connsiteY71" fmla="*/ 707560 h 6858000"/>
              <a:gd name="connsiteX72" fmla="*/ 10276712 w 12193588"/>
              <a:gd name="connsiteY72" fmla="*/ 683631 h 6858000"/>
              <a:gd name="connsiteX73" fmla="*/ 9850201 w 12193588"/>
              <a:gd name="connsiteY73" fmla="*/ 683631 h 6858000"/>
              <a:gd name="connsiteX74" fmla="*/ 9771375 w 12193588"/>
              <a:gd name="connsiteY74" fmla="*/ 746974 h 6858000"/>
              <a:gd name="connsiteX75" fmla="*/ 9833309 w 12193588"/>
              <a:gd name="connsiteY75" fmla="*/ 813133 h 6858000"/>
              <a:gd name="connsiteX76" fmla="*/ 9879761 w 12193588"/>
              <a:gd name="connsiteY76" fmla="*/ 851138 h 6858000"/>
              <a:gd name="connsiteX77" fmla="*/ 9831901 w 12193588"/>
              <a:gd name="connsiteY77" fmla="*/ 884922 h 6858000"/>
              <a:gd name="connsiteX78" fmla="*/ 9769966 w 12193588"/>
              <a:gd name="connsiteY78" fmla="*/ 870845 h 6858000"/>
              <a:gd name="connsiteX79" fmla="*/ 9769966 w 12193588"/>
              <a:gd name="connsiteY79" fmla="*/ 903222 h 6858000"/>
              <a:gd name="connsiteX80" fmla="*/ 9837531 w 12193588"/>
              <a:gd name="connsiteY80" fmla="*/ 915890 h 6858000"/>
              <a:gd name="connsiteX81" fmla="*/ 9917766 w 12193588"/>
              <a:gd name="connsiteY81" fmla="*/ 848323 h 6858000"/>
              <a:gd name="connsiteX82" fmla="*/ 9850201 w 12193588"/>
              <a:gd name="connsiteY82" fmla="*/ 779349 h 6858000"/>
              <a:gd name="connsiteX83" fmla="*/ 9810787 w 12193588"/>
              <a:gd name="connsiteY83" fmla="*/ 744159 h 6858000"/>
              <a:gd name="connsiteX84" fmla="*/ 9851608 w 12193588"/>
              <a:gd name="connsiteY84" fmla="*/ 714599 h 6858000"/>
              <a:gd name="connsiteX85" fmla="*/ 9906505 w 12193588"/>
              <a:gd name="connsiteY85" fmla="*/ 727267 h 6858000"/>
              <a:gd name="connsiteX86" fmla="*/ 9906505 w 12193588"/>
              <a:gd name="connsiteY86" fmla="*/ 693485 h 6858000"/>
              <a:gd name="connsiteX87" fmla="*/ 9850201 w 12193588"/>
              <a:gd name="connsiteY87" fmla="*/ 683631 h 6858000"/>
              <a:gd name="connsiteX88" fmla="*/ 11063577 w 12193588"/>
              <a:gd name="connsiteY88" fmla="*/ 682224 h 6858000"/>
              <a:gd name="connsiteX89" fmla="*/ 10962227 w 12193588"/>
              <a:gd name="connsiteY89" fmla="*/ 799056 h 6858000"/>
              <a:gd name="connsiteX90" fmla="*/ 11072023 w 12193588"/>
              <a:gd name="connsiteY90" fmla="*/ 915890 h 6858000"/>
              <a:gd name="connsiteX91" fmla="*/ 11136773 w 12193588"/>
              <a:gd name="connsiteY91" fmla="*/ 903222 h 6858000"/>
              <a:gd name="connsiteX92" fmla="*/ 11136773 w 12193588"/>
              <a:gd name="connsiteY92" fmla="*/ 870845 h 6858000"/>
              <a:gd name="connsiteX93" fmla="*/ 11073430 w 12193588"/>
              <a:gd name="connsiteY93" fmla="*/ 884922 h 6858000"/>
              <a:gd name="connsiteX94" fmla="*/ 11003049 w 12193588"/>
              <a:gd name="connsiteY94" fmla="*/ 800465 h 6858000"/>
              <a:gd name="connsiteX95" fmla="*/ 11150850 w 12193588"/>
              <a:gd name="connsiteY95" fmla="*/ 800465 h 6858000"/>
              <a:gd name="connsiteX96" fmla="*/ 11150850 w 12193588"/>
              <a:gd name="connsiteY96" fmla="*/ 782166 h 6858000"/>
              <a:gd name="connsiteX97" fmla="*/ 11063577 w 12193588"/>
              <a:gd name="connsiteY97" fmla="*/ 682224 h 6858000"/>
              <a:gd name="connsiteX98" fmla="*/ 10625803 w 12193588"/>
              <a:gd name="connsiteY98" fmla="*/ 682224 h 6858000"/>
              <a:gd name="connsiteX99" fmla="*/ 10569499 w 12193588"/>
              <a:gd name="connsiteY99" fmla="*/ 708968 h 6858000"/>
              <a:gd name="connsiteX100" fmla="*/ 10569499 w 12193588"/>
              <a:gd name="connsiteY100" fmla="*/ 685039 h 6858000"/>
              <a:gd name="connsiteX101" fmla="*/ 10530085 w 12193588"/>
              <a:gd name="connsiteY101" fmla="*/ 685039 h 6858000"/>
              <a:gd name="connsiteX102" fmla="*/ 10530085 w 12193588"/>
              <a:gd name="connsiteY102" fmla="*/ 911666 h 6858000"/>
              <a:gd name="connsiteX103" fmla="*/ 10569499 w 12193588"/>
              <a:gd name="connsiteY103" fmla="*/ 911666 h 6858000"/>
              <a:gd name="connsiteX104" fmla="*/ 10569499 w 12193588"/>
              <a:gd name="connsiteY104" fmla="*/ 738528 h 6858000"/>
              <a:gd name="connsiteX105" fmla="*/ 10621581 w 12193588"/>
              <a:gd name="connsiteY105" fmla="*/ 718823 h 6858000"/>
              <a:gd name="connsiteX106" fmla="*/ 10645510 w 12193588"/>
              <a:gd name="connsiteY106" fmla="*/ 721636 h 6858000"/>
              <a:gd name="connsiteX107" fmla="*/ 10645510 w 12193588"/>
              <a:gd name="connsiteY107" fmla="*/ 685039 h 6858000"/>
              <a:gd name="connsiteX108" fmla="*/ 10625803 w 12193588"/>
              <a:gd name="connsiteY108" fmla="*/ 682224 h 6858000"/>
              <a:gd name="connsiteX109" fmla="*/ 11461934 w 12193588"/>
              <a:gd name="connsiteY109" fmla="*/ 609028 h 6858000"/>
              <a:gd name="connsiteX110" fmla="*/ 11474603 w 12193588"/>
              <a:gd name="connsiteY110" fmla="*/ 618881 h 6858000"/>
              <a:gd name="connsiteX111" fmla="*/ 11461934 w 12193588"/>
              <a:gd name="connsiteY111" fmla="*/ 628735 h 6858000"/>
              <a:gd name="connsiteX112" fmla="*/ 11449266 w 12193588"/>
              <a:gd name="connsiteY112" fmla="*/ 618881 h 6858000"/>
              <a:gd name="connsiteX113" fmla="*/ 11461934 w 12193588"/>
              <a:gd name="connsiteY113" fmla="*/ 609028 h 6858000"/>
              <a:gd name="connsiteX114" fmla="*/ 10706038 w 12193588"/>
              <a:gd name="connsiteY114" fmla="*/ 593543 h 6858000"/>
              <a:gd name="connsiteX115" fmla="*/ 10679294 w 12193588"/>
              <a:gd name="connsiteY115" fmla="*/ 618881 h 6858000"/>
              <a:gd name="connsiteX116" fmla="*/ 10706038 w 12193588"/>
              <a:gd name="connsiteY116" fmla="*/ 644217 h 6858000"/>
              <a:gd name="connsiteX117" fmla="*/ 10732785 w 12193588"/>
              <a:gd name="connsiteY117" fmla="*/ 618881 h 6858000"/>
              <a:gd name="connsiteX118" fmla="*/ 10706038 w 12193588"/>
              <a:gd name="connsiteY118" fmla="*/ 593543 h 6858000"/>
              <a:gd name="connsiteX119" fmla="*/ 11508387 w 12193588"/>
              <a:gd name="connsiteY119" fmla="*/ 530201 h 6858000"/>
              <a:gd name="connsiteX120" fmla="*/ 11674486 w 12193588"/>
              <a:gd name="connsiteY120" fmla="*/ 606213 h 6858000"/>
              <a:gd name="connsiteX121" fmla="*/ 11678709 w 12193588"/>
              <a:gd name="connsiteY121" fmla="*/ 679409 h 6858000"/>
              <a:gd name="connsiteX122" fmla="*/ 11625219 w 12193588"/>
              <a:gd name="connsiteY122" fmla="*/ 676593 h 6858000"/>
              <a:gd name="connsiteX123" fmla="*/ 11629443 w 12193588"/>
              <a:gd name="connsiteY123" fmla="*/ 666741 h 6858000"/>
              <a:gd name="connsiteX124" fmla="*/ 11636480 w 12193588"/>
              <a:gd name="connsiteY124" fmla="*/ 665332 h 6858000"/>
              <a:gd name="connsiteX125" fmla="*/ 11637888 w 12193588"/>
              <a:gd name="connsiteY125" fmla="*/ 661110 h 6858000"/>
              <a:gd name="connsiteX126" fmla="*/ 11620997 w 12193588"/>
              <a:gd name="connsiteY126" fmla="*/ 655479 h 6858000"/>
              <a:gd name="connsiteX127" fmla="*/ 11599881 w 12193588"/>
              <a:gd name="connsiteY127" fmla="*/ 656888 h 6858000"/>
              <a:gd name="connsiteX128" fmla="*/ 11591435 w 12193588"/>
              <a:gd name="connsiteY128" fmla="*/ 654071 h 6858000"/>
              <a:gd name="connsiteX129" fmla="*/ 11588620 w 12193588"/>
              <a:gd name="connsiteY129" fmla="*/ 649849 h 6858000"/>
              <a:gd name="connsiteX130" fmla="*/ 11591435 w 12193588"/>
              <a:gd name="connsiteY130" fmla="*/ 641403 h 6858000"/>
              <a:gd name="connsiteX131" fmla="*/ 11599881 w 12193588"/>
              <a:gd name="connsiteY131" fmla="*/ 639996 h 6858000"/>
              <a:gd name="connsiteX132" fmla="*/ 11601290 w 12193588"/>
              <a:gd name="connsiteY132" fmla="*/ 635772 h 6858000"/>
              <a:gd name="connsiteX133" fmla="*/ 11584398 w 12193588"/>
              <a:gd name="connsiteY133" fmla="*/ 630142 h 6858000"/>
              <a:gd name="connsiteX134" fmla="*/ 11563284 w 12193588"/>
              <a:gd name="connsiteY134" fmla="*/ 631550 h 6858000"/>
              <a:gd name="connsiteX135" fmla="*/ 11554838 w 12193588"/>
              <a:gd name="connsiteY135" fmla="*/ 628735 h 6858000"/>
              <a:gd name="connsiteX136" fmla="*/ 11552023 w 12193588"/>
              <a:gd name="connsiteY136" fmla="*/ 624511 h 6858000"/>
              <a:gd name="connsiteX137" fmla="*/ 11554838 w 12193588"/>
              <a:gd name="connsiteY137" fmla="*/ 614659 h 6858000"/>
              <a:gd name="connsiteX138" fmla="*/ 11563284 w 12193588"/>
              <a:gd name="connsiteY138" fmla="*/ 613250 h 6858000"/>
              <a:gd name="connsiteX139" fmla="*/ 11564691 w 12193588"/>
              <a:gd name="connsiteY139" fmla="*/ 609028 h 6858000"/>
              <a:gd name="connsiteX140" fmla="*/ 11547799 w 12193588"/>
              <a:gd name="connsiteY140" fmla="*/ 603397 h 6858000"/>
              <a:gd name="connsiteX141" fmla="*/ 11526685 w 12193588"/>
              <a:gd name="connsiteY141" fmla="*/ 604804 h 6858000"/>
              <a:gd name="connsiteX142" fmla="*/ 11522463 w 12193588"/>
              <a:gd name="connsiteY142" fmla="*/ 603397 h 6858000"/>
              <a:gd name="connsiteX143" fmla="*/ 11521055 w 12193588"/>
              <a:gd name="connsiteY143" fmla="*/ 600582 h 6858000"/>
              <a:gd name="connsiteX144" fmla="*/ 11522463 w 12193588"/>
              <a:gd name="connsiteY144" fmla="*/ 593545 h 6858000"/>
              <a:gd name="connsiteX145" fmla="*/ 11523870 w 12193588"/>
              <a:gd name="connsiteY145" fmla="*/ 573836 h 6858000"/>
              <a:gd name="connsiteX146" fmla="*/ 11511200 w 12193588"/>
              <a:gd name="connsiteY146" fmla="*/ 551315 h 6858000"/>
              <a:gd name="connsiteX147" fmla="*/ 11506978 w 12193588"/>
              <a:gd name="connsiteY147" fmla="*/ 549907 h 6858000"/>
              <a:gd name="connsiteX148" fmla="*/ 11505571 w 12193588"/>
              <a:gd name="connsiteY148" fmla="*/ 555537 h 6858000"/>
              <a:gd name="connsiteX149" fmla="*/ 11480234 w 12193588"/>
              <a:gd name="connsiteY149" fmla="*/ 589321 h 6858000"/>
              <a:gd name="connsiteX150" fmla="*/ 11471788 w 12193588"/>
              <a:gd name="connsiteY150" fmla="*/ 589321 h 6858000"/>
              <a:gd name="connsiteX151" fmla="*/ 11466157 w 12193588"/>
              <a:gd name="connsiteY151" fmla="*/ 589321 h 6858000"/>
              <a:gd name="connsiteX152" fmla="*/ 11463342 w 12193588"/>
              <a:gd name="connsiteY152" fmla="*/ 589321 h 6858000"/>
              <a:gd name="connsiteX153" fmla="*/ 11457711 w 12193588"/>
              <a:gd name="connsiteY153" fmla="*/ 589321 h 6858000"/>
              <a:gd name="connsiteX154" fmla="*/ 11449266 w 12193588"/>
              <a:gd name="connsiteY154" fmla="*/ 590728 h 6858000"/>
              <a:gd name="connsiteX155" fmla="*/ 11429558 w 12193588"/>
              <a:gd name="connsiteY155" fmla="*/ 610435 h 6858000"/>
              <a:gd name="connsiteX156" fmla="*/ 11429558 w 12193588"/>
              <a:gd name="connsiteY156" fmla="*/ 613250 h 6858000"/>
              <a:gd name="connsiteX157" fmla="*/ 11426743 w 12193588"/>
              <a:gd name="connsiteY157" fmla="*/ 617474 h 6858000"/>
              <a:gd name="connsiteX158" fmla="*/ 11415482 w 12193588"/>
              <a:gd name="connsiteY158" fmla="*/ 618881 h 6858000"/>
              <a:gd name="connsiteX159" fmla="*/ 11373254 w 12193588"/>
              <a:gd name="connsiteY159" fmla="*/ 607620 h 6858000"/>
              <a:gd name="connsiteX160" fmla="*/ 11370439 w 12193588"/>
              <a:gd name="connsiteY160" fmla="*/ 606213 h 6858000"/>
              <a:gd name="connsiteX161" fmla="*/ 11369031 w 12193588"/>
              <a:gd name="connsiteY161" fmla="*/ 607620 h 6858000"/>
              <a:gd name="connsiteX162" fmla="*/ 11357769 w 12193588"/>
              <a:gd name="connsiteY162" fmla="*/ 637181 h 6858000"/>
              <a:gd name="connsiteX163" fmla="*/ 11377476 w 12193588"/>
              <a:gd name="connsiteY163" fmla="*/ 673778 h 6858000"/>
              <a:gd name="connsiteX164" fmla="*/ 11384514 w 12193588"/>
              <a:gd name="connsiteY164" fmla="*/ 678002 h 6858000"/>
              <a:gd name="connsiteX165" fmla="*/ 11384514 w 12193588"/>
              <a:gd name="connsiteY165" fmla="*/ 675187 h 6858000"/>
              <a:gd name="connsiteX166" fmla="*/ 11387331 w 12193588"/>
              <a:gd name="connsiteY166" fmla="*/ 665332 h 6858000"/>
              <a:gd name="connsiteX167" fmla="*/ 11405629 w 12193588"/>
              <a:gd name="connsiteY167" fmla="*/ 661110 h 6858000"/>
              <a:gd name="connsiteX168" fmla="*/ 11407036 w 12193588"/>
              <a:gd name="connsiteY168" fmla="*/ 662517 h 6858000"/>
              <a:gd name="connsiteX169" fmla="*/ 11419706 w 12193588"/>
              <a:gd name="connsiteY169" fmla="*/ 666741 h 6858000"/>
              <a:gd name="connsiteX170" fmla="*/ 11432374 w 12193588"/>
              <a:gd name="connsiteY170" fmla="*/ 662517 h 6858000"/>
              <a:gd name="connsiteX171" fmla="*/ 11450674 w 12193588"/>
              <a:gd name="connsiteY171" fmla="*/ 662517 h 6858000"/>
              <a:gd name="connsiteX172" fmla="*/ 11453489 w 12193588"/>
              <a:gd name="connsiteY172" fmla="*/ 678002 h 6858000"/>
              <a:gd name="connsiteX173" fmla="*/ 11453489 w 12193588"/>
              <a:gd name="connsiteY173" fmla="*/ 679409 h 6858000"/>
              <a:gd name="connsiteX174" fmla="*/ 11452081 w 12193588"/>
              <a:gd name="connsiteY174" fmla="*/ 679409 h 6858000"/>
              <a:gd name="connsiteX175" fmla="*/ 11418297 w 12193588"/>
              <a:gd name="connsiteY175" fmla="*/ 676593 h 6858000"/>
              <a:gd name="connsiteX176" fmla="*/ 11398590 w 12193588"/>
              <a:gd name="connsiteY176" fmla="*/ 685039 h 6858000"/>
              <a:gd name="connsiteX177" fmla="*/ 11364808 w 12193588"/>
              <a:gd name="connsiteY177" fmla="*/ 692078 h 6858000"/>
              <a:gd name="connsiteX178" fmla="*/ 11343693 w 12193588"/>
              <a:gd name="connsiteY178" fmla="*/ 672371 h 6858000"/>
              <a:gd name="connsiteX179" fmla="*/ 11342286 w 12193588"/>
              <a:gd name="connsiteY179" fmla="*/ 669556 h 6858000"/>
              <a:gd name="connsiteX180" fmla="*/ 11340878 w 12193588"/>
              <a:gd name="connsiteY180" fmla="*/ 673778 h 6858000"/>
              <a:gd name="connsiteX181" fmla="*/ 11349323 w 12193588"/>
              <a:gd name="connsiteY181" fmla="*/ 707561 h 6858000"/>
              <a:gd name="connsiteX182" fmla="*/ 11390146 w 12193588"/>
              <a:gd name="connsiteY182" fmla="*/ 713192 h 6858000"/>
              <a:gd name="connsiteX183" fmla="*/ 11391553 w 12193588"/>
              <a:gd name="connsiteY183" fmla="*/ 711785 h 6858000"/>
              <a:gd name="connsiteX184" fmla="*/ 11391553 w 12193588"/>
              <a:gd name="connsiteY184" fmla="*/ 713192 h 6858000"/>
              <a:gd name="connsiteX185" fmla="*/ 11395775 w 12193588"/>
              <a:gd name="connsiteY185" fmla="*/ 727269 h 6858000"/>
              <a:gd name="connsiteX186" fmla="*/ 11414075 w 12193588"/>
              <a:gd name="connsiteY186" fmla="*/ 739937 h 6858000"/>
              <a:gd name="connsiteX187" fmla="*/ 11436598 w 12193588"/>
              <a:gd name="connsiteY187" fmla="*/ 730084 h 6858000"/>
              <a:gd name="connsiteX188" fmla="*/ 11484456 w 12193588"/>
              <a:gd name="connsiteY188" fmla="*/ 713192 h 6858000"/>
              <a:gd name="connsiteX189" fmla="*/ 11552023 w 12193588"/>
              <a:gd name="connsiteY189" fmla="*/ 786388 h 6858000"/>
              <a:gd name="connsiteX190" fmla="*/ 11557654 w 12193588"/>
              <a:gd name="connsiteY190" fmla="*/ 796242 h 6858000"/>
              <a:gd name="connsiteX191" fmla="*/ 11557654 w 12193588"/>
              <a:gd name="connsiteY191" fmla="*/ 797649 h 6858000"/>
              <a:gd name="connsiteX192" fmla="*/ 11563284 w 12193588"/>
              <a:gd name="connsiteY192" fmla="*/ 801873 h 6858000"/>
              <a:gd name="connsiteX193" fmla="*/ 11566099 w 12193588"/>
              <a:gd name="connsiteY193" fmla="*/ 797649 h 6858000"/>
              <a:gd name="connsiteX194" fmla="*/ 11595659 w 12193588"/>
              <a:gd name="connsiteY194" fmla="*/ 758237 h 6858000"/>
              <a:gd name="connsiteX195" fmla="*/ 11622404 w 12193588"/>
              <a:gd name="connsiteY195" fmla="*/ 754013 h 6858000"/>
              <a:gd name="connsiteX196" fmla="*/ 11625219 w 12193588"/>
              <a:gd name="connsiteY196" fmla="*/ 754013 h 6858000"/>
              <a:gd name="connsiteX197" fmla="*/ 11650556 w 12193588"/>
              <a:gd name="connsiteY197" fmla="*/ 744160 h 6858000"/>
              <a:gd name="connsiteX198" fmla="*/ 11718122 w 12193588"/>
              <a:gd name="connsiteY198" fmla="*/ 718823 h 6858000"/>
              <a:gd name="connsiteX199" fmla="*/ 11727976 w 12193588"/>
              <a:gd name="connsiteY199" fmla="*/ 721638 h 6858000"/>
              <a:gd name="connsiteX200" fmla="*/ 11725161 w 12193588"/>
              <a:gd name="connsiteY200" fmla="*/ 728675 h 6858000"/>
              <a:gd name="connsiteX201" fmla="*/ 11720939 w 12193588"/>
              <a:gd name="connsiteY201" fmla="*/ 730084 h 6858000"/>
              <a:gd name="connsiteX202" fmla="*/ 11639295 w 12193588"/>
              <a:gd name="connsiteY202" fmla="*/ 789205 h 6858000"/>
              <a:gd name="connsiteX203" fmla="*/ 11636480 w 12193588"/>
              <a:gd name="connsiteY203" fmla="*/ 810319 h 6858000"/>
              <a:gd name="connsiteX204" fmla="*/ 11636480 w 12193588"/>
              <a:gd name="connsiteY204" fmla="*/ 820172 h 6858000"/>
              <a:gd name="connsiteX205" fmla="*/ 11609736 w 12193588"/>
              <a:gd name="connsiteY205" fmla="*/ 886330 h 6858000"/>
              <a:gd name="connsiteX206" fmla="*/ 11582989 w 12193588"/>
              <a:gd name="connsiteY206" fmla="*/ 908852 h 6858000"/>
              <a:gd name="connsiteX207" fmla="*/ 11577361 w 12193588"/>
              <a:gd name="connsiteY207" fmla="*/ 914483 h 6858000"/>
              <a:gd name="connsiteX208" fmla="*/ 11571730 w 12193588"/>
              <a:gd name="connsiteY208" fmla="*/ 921520 h 6858000"/>
              <a:gd name="connsiteX209" fmla="*/ 11544984 w 12193588"/>
              <a:gd name="connsiteY209" fmla="*/ 951082 h 6858000"/>
              <a:gd name="connsiteX210" fmla="*/ 11518239 w 12193588"/>
              <a:gd name="connsiteY210" fmla="*/ 969380 h 6858000"/>
              <a:gd name="connsiteX211" fmla="*/ 11516833 w 12193588"/>
              <a:gd name="connsiteY211" fmla="*/ 969380 h 6858000"/>
              <a:gd name="connsiteX212" fmla="*/ 11515424 w 12193588"/>
              <a:gd name="connsiteY212" fmla="*/ 967974 h 6858000"/>
              <a:gd name="connsiteX213" fmla="*/ 11529501 w 12193588"/>
              <a:gd name="connsiteY213" fmla="*/ 946858 h 6858000"/>
              <a:gd name="connsiteX214" fmla="*/ 11543577 w 12193588"/>
              <a:gd name="connsiteY214" fmla="*/ 927151 h 6858000"/>
              <a:gd name="connsiteX215" fmla="*/ 11529501 w 12193588"/>
              <a:gd name="connsiteY215" fmla="*/ 932782 h 6858000"/>
              <a:gd name="connsiteX216" fmla="*/ 11515424 w 12193588"/>
              <a:gd name="connsiteY216" fmla="*/ 939821 h 6858000"/>
              <a:gd name="connsiteX217" fmla="*/ 11447857 w 12193588"/>
              <a:gd name="connsiteY217" fmla="*/ 958119 h 6858000"/>
              <a:gd name="connsiteX218" fmla="*/ 11447857 w 12193588"/>
              <a:gd name="connsiteY218" fmla="*/ 955304 h 6858000"/>
              <a:gd name="connsiteX219" fmla="*/ 11467564 w 12193588"/>
              <a:gd name="connsiteY219" fmla="*/ 942636 h 6858000"/>
              <a:gd name="connsiteX220" fmla="*/ 11528092 w 12193588"/>
              <a:gd name="connsiteY220" fmla="*/ 893369 h 6858000"/>
              <a:gd name="connsiteX221" fmla="*/ 11491495 w 12193588"/>
              <a:gd name="connsiteY221" fmla="*/ 866623 h 6858000"/>
              <a:gd name="connsiteX222" fmla="*/ 11430967 w 12193588"/>
              <a:gd name="connsiteY222" fmla="*/ 801873 h 6858000"/>
              <a:gd name="connsiteX223" fmla="*/ 11316948 w 12193588"/>
              <a:gd name="connsiteY223" fmla="*/ 856770 h 6858000"/>
              <a:gd name="connsiteX224" fmla="*/ 11288796 w 12193588"/>
              <a:gd name="connsiteY224" fmla="*/ 749791 h 6858000"/>
              <a:gd name="connsiteX225" fmla="*/ 11508387 w 12193588"/>
              <a:gd name="connsiteY225" fmla="*/ 530201 h 6858000"/>
              <a:gd name="connsiteX226" fmla="*/ 11509794 w 12193588"/>
              <a:gd name="connsiteY226" fmla="*/ 511901 h 6858000"/>
              <a:gd name="connsiteX227" fmla="*/ 11270497 w 12193588"/>
              <a:gd name="connsiteY227" fmla="*/ 751198 h 6858000"/>
              <a:gd name="connsiteX228" fmla="*/ 11509794 w 12193588"/>
              <a:gd name="connsiteY228" fmla="*/ 990494 h 6858000"/>
              <a:gd name="connsiteX229" fmla="*/ 11749090 w 12193588"/>
              <a:gd name="connsiteY229" fmla="*/ 751198 h 6858000"/>
              <a:gd name="connsiteX230" fmla="*/ 11509794 w 12193588"/>
              <a:gd name="connsiteY230" fmla="*/ 511901 h 6858000"/>
              <a:gd name="connsiteX231" fmla="*/ 0 w 12193588"/>
              <a:gd name="connsiteY231" fmla="*/ 0 h 6858000"/>
              <a:gd name="connsiteX232" fmla="*/ 12193588 w 12193588"/>
              <a:gd name="connsiteY232" fmla="*/ 0 h 6858000"/>
              <a:gd name="connsiteX233" fmla="*/ 12193588 w 12193588"/>
              <a:gd name="connsiteY233" fmla="*/ 6858000 h 6858000"/>
              <a:gd name="connsiteX234" fmla="*/ 0 w 12193588"/>
              <a:gd name="connsiteY23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</a:cxnLst>
            <a:rect l="l" t="t" r="r" b="b"/>
            <a:pathLst>
              <a:path w="12193588" h="6858000">
                <a:moveTo>
                  <a:pt x="11616773" y="766683"/>
                </a:moveTo>
                <a:cubicBezTo>
                  <a:pt x="11611142" y="766683"/>
                  <a:pt x="11606920" y="770905"/>
                  <a:pt x="11606920" y="776535"/>
                </a:cubicBezTo>
                <a:cubicBezTo>
                  <a:pt x="11606920" y="782166"/>
                  <a:pt x="11611142" y="786388"/>
                  <a:pt x="11616773" y="786388"/>
                </a:cubicBezTo>
                <a:cubicBezTo>
                  <a:pt x="11622404" y="784981"/>
                  <a:pt x="11626627" y="780759"/>
                  <a:pt x="11626627" y="776535"/>
                </a:cubicBezTo>
                <a:cubicBezTo>
                  <a:pt x="11626627" y="770905"/>
                  <a:pt x="11622404" y="766683"/>
                  <a:pt x="11616773" y="766683"/>
                </a:cubicBezTo>
                <a:close/>
                <a:moveTo>
                  <a:pt x="11063577" y="714599"/>
                </a:moveTo>
                <a:cubicBezTo>
                  <a:pt x="11094544" y="714599"/>
                  <a:pt x="11111436" y="741343"/>
                  <a:pt x="11111436" y="770903"/>
                </a:cubicBezTo>
                <a:lnTo>
                  <a:pt x="11111436" y="773720"/>
                </a:lnTo>
                <a:lnTo>
                  <a:pt x="11110029" y="773720"/>
                </a:lnTo>
                <a:lnTo>
                  <a:pt x="11004456" y="773720"/>
                </a:lnTo>
                <a:cubicBezTo>
                  <a:pt x="11010087" y="731491"/>
                  <a:pt x="11034016" y="714599"/>
                  <a:pt x="11063577" y="714599"/>
                </a:cubicBezTo>
                <a:close/>
                <a:moveTo>
                  <a:pt x="11435366" y="690142"/>
                </a:moveTo>
                <a:cubicBezTo>
                  <a:pt x="11440820" y="689263"/>
                  <a:pt x="11445747" y="689966"/>
                  <a:pt x="11450674" y="692078"/>
                </a:cubicBezTo>
                <a:lnTo>
                  <a:pt x="11452081" y="692078"/>
                </a:lnTo>
                <a:cubicBezTo>
                  <a:pt x="11452081" y="692078"/>
                  <a:pt x="11452081" y="693485"/>
                  <a:pt x="11450674" y="693485"/>
                </a:cubicBezTo>
                <a:cubicBezTo>
                  <a:pt x="11447857" y="699116"/>
                  <a:pt x="11442228" y="706155"/>
                  <a:pt x="11430967" y="710377"/>
                </a:cubicBezTo>
                <a:cubicBezTo>
                  <a:pt x="11423928" y="713192"/>
                  <a:pt x="11419706" y="714599"/>
                  <a:pt x="11414075" y="714599"/>
                </a:cubicBezTo>
                <a:cubicBezTo>
                  <a:pt x="11407036" y="714599"/>
                  <a:pt x="11401406" y="713192"/>
                  <a:pt x="11399999" y="711785"/>
                </a:cubicBezTo>
                <a:cubicBezTo>
                  <a:pt x="11399999" y="711785"/>
                  <a:pt x="11407036" y="704746"/>
                  <a:pt x="11416891" y="697709"/>
                </a:cubicBezTo>
                <a:cubicBezTo>
                  <a:pt x="11423929" y="693486"/>
                  <a:pt x="11429911" y="691022"/>
                  <a:pt x="11435366" y="690142"/>
                </a:cubicBezTo>
                <a:close/>
                <a:moveTo>
                  <a:pt x="10686333" y="686446"/>
                </a:moveTo>
                <a:lnTo>
                  <a:pt x="10686333" y="913075"/>
                </a:lnTo>
                <a:lnTo>
                  <a:pt x="10725745" y="913075"/>
                </a:lnTo>
                <a:lnTo>
                  <a:pt x="10725745" y="686446"/>
                </a:lnTo>
                <a:close/>
                <a:moveTo>
                  <a:pt x="9936067" y="686446"/>
                </a:moveTo>
                <a:lnTo>
                  <a:pt x="10019115" y="913075"/>
                </a:lnTo>
                <a:lnTo>
                  <a:pt x="10017708" y="920112"/>
                </a:lnTo>
                <a:cubicBezTo>
                  <a:pt x="10010671" y="941228"/>
                  <a:pt x="9999410" y="959526"/>
                  <a:pt x="9974072" y="959526"/>
                </a:cubicBezTo>
                <a:cubicBezTo>
                  <a:pt x="9965626" y="959526"/>
                  <a:pt x="9955772" y="958119"/>
                  <a:pt x="9948735" y="956711"/>
                </a:cubicBezTo>
                <a:lnTo>
                  <a:pt x="9948735" y="987679"/>
                </a:lnTo>
                <a:cubicBezTo>
                  <a:pt x="9957180" y="990494"/>
                  <a:pt x="9964218" y="991901"/>
                  <a:pt x="9976888" y="991901"/>
                </a:cubicBezTo>
                <a:cubicBezTo>
                  <a:pt x="10020524" y="990494"/>
                  <a:pt x="10040231" y="972196"/>
                  <a:pt x="10054307" y="931373"/>
                </a:cubicBezTo>
                <a:lnTo>
                  <a:pt x="10137358" y="686446"/>
                </a:lnTo>
                <a:lnTo>
                  <a:pt x="10096535" y="686446"/>
                </a:lnTo>
                <a:lnTo>
                  <a:pt x="10041638" y="862399"/>
                </a:lnTo>
                <a:lnTo>
                  <a:pt x="10040231" y="862399"/>
                </a:lnTo>
                <a:lnTo>
                  <a:pt x="9978294" y="686446"/>
                </a:lnTo>
                <a:close/>
                <a:moveTo>
                  <a:pt x="10859471" y="683631"/>
                </a:moveTo>
                <a:cubicBezTo>
                  <a:pt x="10813020" y="683631"/>
                  <a:pt x="10780643" y="703338"/>
                  <a:pt x="10780643" y="746974"/>
                </a:cubicBezTo>
                <a:cubicBezTo>
                  <a:pt x="10780643" y="782166"/>
                  <a:pt x="10804574" y="800465"/>
                  <a:pt x="10841171" y="813133"/>
                </a:cubicBezTo>
                <a:cubicBezTo>
                  <a:pt x="10872139" y="824394"/>
                  <a:pt x="10887622" y="830024"/>
                  <a:pt x="10887622" y="851138"/>
                </a:cubicBezTo>
                <a:cubicBezTo>
                  <a:pt x="10887622" y="875069"/>
                  <a:pt x="10870730" y="884922"/>
                  <a:pt x="10839764" y="884922"/>
                </a:cubicBezTo>
                <a:cubicBezTo>
                  <a:pt x="10818650" y="884922"/>
                  <a:pt x="10791904" y="877884"/>
                  <a:pt x="10777828" y="870845"/>
                </a:cubicBezTo>
                <a:lnTo>
                  <a:pt x="10777828" y="903222"/>
                </a:lnTo>
                <a:cubicBezTo>
                  <a:pt x="10794719" y="911666"/>
                  <a:pt x="10821464" y="915890"/>
                  <a:pt x="10845395" y="915890"/>
                </a:cubicBezTo>
                <a:cubicBezTo>
                  <a:pt x="10893253" y="915890"/>
                  <a:pt x="10925630" y="890552"/>
                  <a:pt x="10925630" y="848323"/>
                </a:cubicBezTo>
                <a:cubicBezTo>
                  <a:pt x="10925630" y="803280"/>
                  <a:pt x="10889031" y="789203"/>
                  <a:pt x="10858063" y="779349"/>
                </a:cubicBezTo>
                <a:cubicBezTo>
                  <a:pt x="10832725" y="769496"/>
                  <a:pt x="10820057" y="762459"/>
                  <a:pt x="10820057" y="744159"/>
                </a:cubicBezTo>
                <a:cubicBezTo>
                  <a:pt x="10820057" y="725860"/>
                  <a:pt x="10834133" y="714599"/>
                  <a:pt x="10860878" y="714599"/>
                </a:cubicBezTo>
                <a:cubicBezTo>
                  <a:pt x="10881994" y="714599"/>
                  <a:pt x="10904514" y="721636"/>
                  <a:pt x="10915775" y="727267"/>
                </a:cubicBezTo>
                <a:lnTo>
                  <a:pt x="10915775" y="693485"/>
                </a:lnTo>
                <a:cubicBezTo>
                  <a:pt x="10904514" y="689261"/>
                  <a:pt x="10883400" y="683631"/>
                  <a:pt x="10859471" y="683631"/>
                </a:cubicBezTo>
                <a:close/>
                <a:moveTo>
                  <a:pt x="10276712" y="683631"/>
                </a:moveTo>
                <a:cubicBezTo>
                  <a:pt x="10247152" y="683631"/>
                  <a:pt x="10224630" y="696301"/>
                  <a:pt x="10211962" y="704746"/>
                </a:cubicBezTo>
                <a:lnTo>
                  <a:pt x="10211962" y="686446"/>
                </a:lnTo>
                <a:lnTo>
                  <a:pt x="10172548" y="686446"/>
                </a:lnTo>
                <a:lnTo>
                  <a:pt x="10172548" y="913075"/>
                </a:lnTo>
                <a:lnTo>
                  <a:pt x="10211962" y="913075"/>
                </a:lnTo>
                <a:lnTo>
                  <a:pt x="10211962" y="731491"/>
                </a:lnTo>
                <a:cubicBezTo>
                  <a:pt x="10223221" y="723045"/>
                  <a:pt x="10240113" y="714599"/>
                  <a:pt x="10257005" y="714599"/>
                </a:cubicBezTo>
                <a:cubicBezTo>
                  <a:pt x="10285158" y="714599"/>
                  <a:pt x="10300641" y="730082"/>
                  <a:pt x="10300641" y="766681"/>
                </a:cubicBezTo>
                <a:lnTo>
                  <a:pt x="10300641" y="911666"/>
                </a:lnTo>
                <a:lnTo>
                  <a:pt x="10340055" y="911666"/>
                </a:lnTo>
                <a:lnTo>
                  <a:pt x="10340055" y="758235"/>
                </a:lnTo>
                <a:cubicBezTo>
                  <a:pt x="10340055" y="745567"/>
                  <a:pt x="10337240" y="734306"/>
                  <a:pt x="10335833" y="728676"/>
                </a:cubicBezTo>
                <a:cubicBezTo>
                  <a:pt x="10347094" y="723045"/>
                  <a:pt x="10365393" y="714599"/>
                  <a:pt x="10383692" y="714599"/>
                </a:cubicBezTo>
                <a:cubicBezTo>
                  <a:pt x="10421697" y="714599"/>
                  <a:pt x="10430143" y="735713"/>
                  <a:pt x="10430143" y="768090"/>
                </a:cubicBezTo>
                <a:lnTo>
                  <a:pt x="10430143" y="913075"/>
                </a:lnTo>
                <a:lnTo>
                  <a:pt x="10469557" y="913075"/>
                </a:lnTo>
                <a:lnTo>
                  <a:pt x="10469557" y="763866"/>
                </a:lnTo>
                <a:cubicBezTo>
                  <a:pt x="10469557" y="717414"/>
                  <a:pt x="10449850" y="683631"/>
                  <a:pt x="10397768" y="683631"/>
                </a:cubicBezTo>
                <a:cubicBezTo>
                  <a:pt x="10369615" y="683631"/>
                  <a:pt x="10345686" y="693485"/>
                  <a:pt x="10327387" y="707560"/>
                </a:cubicBezTo>
                <a:cubicBezTo>
                  <a:pt x="10316126" y="693485"/>
                  <a:pt x="10297826" y="683631"/>
                  <a:pt x="10276712" y="683631"/>
                </a:cubicBezTo>
                <a:close/>
                <a:moveTo>
                  <a:pt x="9850201" y="683631"/>
                </a:moveTo>
                <a:cubicBezTo>
                  <a:pt x="9803750" y="683631"/>
                  <a:pt x="9771375" y="703338"/>
                  <a:pt x="9771375" y="746974"/>
                </a:cubicBezTo>
                <a:cubicBezTo>
                  <a:pt x="9771375" y="782166"/>
                  <a:pt x="9795304" y="800465"/>
                  <a:pt x="9833309" y="813133"/>
                </a:cubicBezTo>
                <a:cubicBezTo>
                  <a:pt x="9864278" y="824394"/>
                  <a:pt x="9879761" y="830024"/>
                  <a:pt x="9879761" y="851138"/>
                </a:cubicBezTo>
                <a:cubicBezTo>
                  <a:pt x="9879761" y="875069"/>
                  <a:pt x="9862869" y="884922"/>
                  <a:pt x="9831901" y="884922"/>
                </a:cubicBezTo>
                <a:cubicBezTo>
                  <a:pt x="9810787" y="884922"/>
                  <a:pt x="9784042" y="877884"/>
                  <a:pt x="9769966" y="870845"/>
                </a:cubicBezTo>
                <a:lnTo>
                  <a:pt x="9769966" y="903222"/>
                </a:lnTo>
                <a:cubicBezTo>
                  <a:pt x="9786858" y="911666"/>
                  <a:pt x="9813602" y="915890"/>
                  <a:pt x="9837531" y="915890"/>
                </a:cubicBezTo>
                <a:cubicBezTo>
                  <a:pt x="9885391" y="915890"/>
                  <a:pt x="9917766" y="890552"/>
                  <a:pt x="9917766" y="848323"/>
                </a:cubicBezTo>
                <a:cubicBezTo>
                  <a:pt x="9917766" y="803280"/>
                  <a:pt x="9881169" y="789203"/>
                  <a:pt x="9850201" y="779349"/>
                </a:cubicBezTo>
                <a:cubicBezTo>
                  <a:pt x="9823455" y="769496"/>
                  <a:pt x="9810787" y="762459"/>
                  <a:pt x="9810787" y="744159"/>
                </a:cubicBezTo>
                <a:cubicBezTo>
                  <a:pt x="9810787" y="725860"/>
                  <a:pt x="9824863" y="714599"/>
                  <a:pt x="9851608" y="714599"/>
                </a:cubicBezTo>
                <a:cubicBezTo>
                  <a:pt x="9872723" y="714599"/>
                  <a:pt x="9895244" y="721636"/>
                  <a:pt x="9906505" y="727267"/>
                </a:cubicBezTo>
                <a:lnTo>
                  <a:pt x="9906505" y="693485"/>
                </a:lnTo>
                <a:cubicBezTo>
                  <a:pt x="9895244" y="689261"/>
                  <a:pt x="9874130" y="683631"/>
                  <a:pt x="9850201" y="683631"/>
                </a:cubicBezTo>
                <a:close/>
                <a:moveTo>
                  <a:pt x="11063577" y="682224"/>
                </a:moveTo>
                <a:cubicBezTo>
                  <a:pt x="10998826" y="682224"/>
                  <a:pt x="10962227" y="731491"/>
                  <a:pt x="10962227" y="799056"/>
                </a:cubicBezTo>
                <a:cubicBezTo>
                  <a:pt x="10962227" y="868030"/>
                  <a:pt x="10997419" y="915890"/>
                  <a:pt x="11072023" y="915890"/>
                </a:cubicBezTo>
                <a:cubicBezTo>
                  <a:pt x="11097359" y="915890"/>
                  <a:pt x="11124105" y="908853"/>
                  <a:pt x="11136773" y="903222"/>
                </a:cubicBezTo>
                <a:lnTo>
                  <a:pt x="11136773" y="870845"/>
                </a:lnTo>
                <a:cubicBezTo>
                  <a:pt x="11121290" y="879291"/>
                  <a:pt x="11100174" y="884922"/>
                  <a:pt x="11073430" y="884922"/>
                </a:cubicBezTo>
                <a:cubicBezTo>
                  <a:pt x="11022755" y="884922"/>
                  <a:pt x="11003049" y="851138"/>
                  <a:pt x="11003049" y="800465"/>
                </a:cubicBezTo>
                <a:lnTo>
                  <a:pt x="11150850" y="800465"/>
                </a:lnTo>
                <a:cubicBezTo>
                  <a:pt x="11150850" y="794834"/>
                  <a:pt x="11150850" y="789203"/>
                  <a:pt x="11150850" y="782166"/>
                </a:cubicBezTo>
                <a:cubicBezTo>
                  <a:pt x="11150850" y="732898"/>
                  <a:pt x="11128327" y="682224"/>
                  <a:pt x="11063577" y="682224"/>
                </a:cubicBezTo>
                <a:close/>
                <a:moveTo>
                  <a:pt x="10625803" y="682224"/>
                </a:moveTo>
                <a:cubicBezTo>
                  <a:pt x="10600467" y="682224"/>
                  <a:pt x="10582167" y="693485"/>
                  <a:pt x="10569499" y="708968"/>
                </a:cubicBezTo>
                <a:lnTo>
                  <a:pt x="10569499" y="685039"/>
                </a:lnTo>
                <a:lnTo>
                  <a:pt x="10530085" y="685039"/>
                </a:lnTo>
                <a:lnTo>
                  <a:pt x="10530085" y="911666"/>
                </a:lnTo>
                <a:lnTo>
                  <a:pt x="10569499" y="911666"/>
                </a:lnTo>
                <a:lnTo>
                  <a:pt x="10569499" y="738528"/>
                </a:lnTo>
                <a:cubicBezTo>
                  <a:pt x="10582167" y="728676"/>
                  <a:pt x="10596244" y="718823"/>
                  <a:pt x="10621581" y="718823"/>
                </a:cubicBezTo>
                <a:cubicBezTo>
                  <a:pt x="10631434" y="718823"/>
                  <a:pt x="10639880" y="720230"/>
                  <a:pt x="10645510" y="721636"/>
                </a:cubicBezTo>
                <a:lnTo>
                  <a:pt x="10645510" y="685039"/>
                </a:lnTo>
                <a:cubicBezTo>
                  <a:pt x="10639880" y="683631"/>
                  <a:pt x="10631434" y="682224"/>
                  <a:pt x="10625803" y="682224"/>
                </a:cubicBezTo>
                <a:close/>
                <a:moveTo>
                  <a:pt x="11461934" y="609028"/>
                </a:moveTo>
                <a:cubicBezTo>
                  <a:pt x="11468973" y="609028"/>
                  <a:pt x="11474603" y="613250"/>
                  <a:pt x="11474603" y="618881"/>
                </a:cubicBezTo>
                <a:cubicBezTo>
                  <a:pt x="11474603" y="624511"/>
                  <a:pt x="11468973" y="628735"/>
                  <a:pt x="11461934" y="628735"/>
                </a:cubicBezTo>
                <a:cubicBezTo>
                  <a:pt x="11454896" y="628735"/>
                  <a:pt x="11449266" y="624511"/>
                  <a:pt x="11449266" y="618881"/>
                </a:cubicBezTo>
                <a:cubicBezTo>
                  <a:pt x="11449266" y="613250"/>
                  <a:pt x="11454896" y="609028"/>
                  <a:pt x="11461934" y="609028"/>
                </a:cubicBezTo>
                <a:close/>
                <a:moveTo>
                  <a:pt x="10706038" y="593543"/>
                </a:moveTo>
                <a:cubicBezTo>
                  <a:pt x="10690555" y="593543"/>
                  <a:pt x="10679294" y="604804"/>
                  <a:pt x="10679294" y="618881"/>
                </a:cubicBezTo>
                <a:cubicBezTo>
                  <a:pt x="10679294" y="632957"/>
                  <a:pt x="10690555" y="644217"/>
                  <a:pt x="10706038" y="644217"/>
                </a:cubicBezTo>
                <a:cubicBezTo>
                  <a:pt x="10720115" y="644217"/>
                  <a:pt x="10732785" y="632957"/>
                  <a:pt x="10732785" y="618881"/>
                </a:cubicBezTo>
                <a:cubicBezTo>
                  <a:pt x="10732785" y="604804"/>
                  <a:pt x="10720115" y="593543"/>
                  <a:pt x="10706038" y="593543"/>
                </a:cubicBezTo>
                <a:close/>
                <a:moveTo>
                  <a:pt x="11508387" y="530201"/>
                </a:moveTo>
                <a:cubicBezTo>
                  <a:pt x="11574544" y="530201"/>
                  <a:pt x="11633665" y="559761"/>
                  <a:pt x="11674486" y="606213"/>
                </a:cubicBezTo>
                <a:cubicBezTo>
                  <a:pt x="11699823" y="638588"/>
                  <a:pt x="11695601" y="665332"/>
                  <a:pt x="11678709" y="679409"/>
                </a:cubicBezTo>
                <a:cubicBezTo>
                  <a:pt x="11657596" y="694894"/>
                  <a:pt x="11629443" y="689263"/>
                  <a:pt x="11625219" y="676593"/>
                </a:cubicBezTo>
                <a:cubicBezTo>
                  <a:pt x="11623812" y="669556"/>
                  <a:pt x="11629443" y="666741"/>
                  <a:pt x="11629443" y="666741"/>
                </a:cubicBezTo>
                <a:cubicBezTo>
                  <a:pt x="11630849" y="665332"/>
                  <a:pt x="11633665" y="665332"/>
                  <a:pt x="11636480" y="665332"/>
                </a:cubicBezTo>
                <a:cubicBezTo>
                  <a:pt x="11640704" y="665332"/>
                  <a:pt x="11640704" y="662517"/>
                  <a:pt x="11637888" y="661110"/>
                </a:cubicBezTo>
                <a:cubicBezTo>
                  <a:pt x="11633665" y="658295"/>
                  <a:pt x="11626627" y="655479"/>
                  <a:pt x="11620997" y="655479"/>
                </a:cubicBezTo>
                <a:cubicBezTo>
                  <a:pt x="11612551" y="655479"/>
                  <a:pt x="11599881" y="656888"/>
                  <a:pt x="11599881" y="656888"/>
                </a:cubicBezTo>
                <a:cubicBezTo>
                  <a:pt x="11597066" y="656888"/>
                  <a:pt x="11594252" y="655479"/>
                  <a:pt x="11591435" y="654071"/>
                </a:cubicBezTo>
                <a:cubicBezTo>
                  <a:pt x="11590028" y="652664"/>
                  <a:pt x="11588620" y="651256"/>
                  <a:pt x="11588620" y="649849"/>
                </a:cubicBezTo>
                <a:cubicBezTo>
                  <a:pt x="11587213" y="642812"/>
                  <a:pt x="11591435" y="641403"/>
                  <a:pt x="11591435" y="641403"/>
                </a:cubicBezTo>
                <a:cubicBezTo>
                  <a:pt x="11592844" y="639996"/>
                  <a:pt x="11597066" y="638588"/>
                  <a:pt x="11599881" y="639996"/>
                </a:cubicBezTo>
                <a:cubicBezTo>
                  <a:pt x="11604105" y="639996"/>
                  <a:pt x="11604105" y="637181"/>
                  <a:pt x="11601290" y="635772"/>
                </a:cubicBezTo>
                <a:cubicBezTo>
                  <a:pt x="11597066" y="632957"/>
                  <a:pt x="11590028" y="630142"/>
                  <a:pt x="11584398" y="630142"/>
                </a:cubicBezTo>
                <a:cubicBezTo>
                  <a:pt x="11575952" y="630142"/>
                  <a:pt x="11563284" y="631550"/>
                  <a:pt x="11563284" y="631550"/>
                </a:cubicBezTo>
                <a:cubicBezTo>
                  <a:pt x="11560469" y="631550"/>
                  <a:pt x="11557654" y="630142"/>
                  <a:pt x="11554838" y="628735"/>
                </a:cubicBezTo>
                <a:cubicBezTo>
                  <a:pt x="11553430" y="627327"/>
                  <a:pt x="11552023" y="625920"/>
                  <a:pt x="11552023" y="624511"/>
                </a:cubicBezTo>
                <a:cubicBezTo>
                  <a:pt x="11550614" y="617474"/>
                  <a:pt x="11554838" y="614659"/>
                  <a:pt x="11554838" y="614659"/>
                </a:cubicBezTo>
                <a:cubicBezTo>
                  <a:pt x="11556245" y="613250"/>
                  <a:pt x="11559060" y="611843"/>
                  <a:pt x="11563284" y="613250"/>
                </a:cubicBezTo>
                <a:cubicBezTo>
                  <a:pt x="11567506" y="613250"/>
                  <a:pt x="11567506" y="610435"/>
                  <a:pt x="11564691" y="609028"/>
                </a:cubicBezTo>
                <a:cubicBezTo>
                  <a:pt x="11560469" y="606213"/>
                  <a:pt x="11553430" y="603397"/>
                  <a:pt x="11547799" y="603397"/>
                </a:cubicBezTo>
                <a:cubicBezTo>
                  <a:pt x="11539353" y="603397"/>
                  <a:pt x="11526685" y="604804"/>
                  <a:pt x="11526685" y="604804"/>
                </a:cubicBezTo>
                <a:cubicBezTo>
                  <a:pt x="11525277" y="604804"/>
                  <a:pt x="11522463" y="604804"/>
                  <a:pt x="11522463" y="603397"/>
                </a:cubicBezTo>
                <a:cubicBezTo>
                  <a:pt x="11521055" y="601989"/>
                  <a:pt x="11521055" y="601989"/>
                  <a:pt x="11521055" y="600582"/>
                </a:cubicBezTo>
                <a:cubicBezTo>
                  <a:pt x="11521055" y="599174"/>
                  <a:pt x="11521055" y="596358"/>
                  <a:pt x="11522463" y="593545"/>
                </a:cubicBezTo>
                <a:cubicBezTo>
                  <a:pt x="11523870" y="587912"/>
                  <a:pt x="11525277" y="582282"/>
                  <a:pt x="11523870" y="573836"/>
                </a:cubicBezTo>
                <a:cubicBezTo>
                  <a:pt x="11522463" y="558353"/>
                  <a:pt x="11514017" y="552722"/>
                  <a:pt x="11511200" y="551315"/>
                </a:cubicBezTo>
                <a:cubicBezTo>
                  <a:pt x="11508387" y="549907"/>
                  <a:pt x="11506978" y="549907"/>
                  <a:pt x="11506978" y="549907"/>
                </a:cubicBezTo>
                <a:cubicBezTo>
                  <a:pt x="11506978" y="549907"/>
                  <a:pt x="11505571" y="552722"/>
                  <a:pt x="11505571" y="555537"/>
                </a:cubicBezTo>
                <a:cubicBezTo>
                  <a:pt x="11504163" y="566799"/>
                  <a:pt x="11502756" y="589321"/>
                  <a:pt x="11480234" y="589321"/>
                </a:cubicBezTo>
                <a:cubicBezTo>
                  <a:pt x="11477418" y="589321"/>
                  <a:pt x="11474603" y="589321"/>
                  <a:pt x="11471788" y="589321"/>
                </a:cubicBezTo>
                <a:cubicBezTo>
                  <a:pt x="11470379" y="589321"/>
                  <a:pt x="11467564" y="589321"/>
                  <a:pt x="11466157" y="589321"/>
                </a:cubicBezTo>
                <a:cubicBezTo>
                  <a:pt x="11464749" y="589321"/>
                  <a:pt x="11464749" y="589321"/>
                  <a:pt x="11463342" y="589321"/>
                </a:cubicBezTo>
                <a:cubicBezTo>
                  <a:pt x="11461934" y="589321"/>
                  <a:pt x="11459120" y="589321"/>
                  <a:pt x="11457711" y="589321"/>
                </a:cubicBezTo>
                <a:cubicBezTo>
                  <a:pt x="11454896" y="589321"/>
                  <a:pt x="11452081" y="589321"/>
                  <a:pt x="11449266" y="590728"/>
                </a:cubicBezTo>
                <a:cubicBezTo>
                  <a:pt x="11438004" y="593545"/>
                  <a:pt x="11430967" y="600582"/>
                  <a:pt x="11429558" y="610435"/>
                </a:cubicBezTo>
                <a:cubicBezTo>
                  <a:pt x="11429558" y="611843"/>
                  <a:pt x="11429558" y="611843"/>
                  <a:pt x="11429558" y="613250"/>
                </a:cubicBezTo>
                <a:cubicBezTo>
                  <a:pt x="11429558" y="614659"/>
                  <a:pt x="11429558" y="617474"/>
                  <a:pt x="11426743" y="617474"/>
                </a:cubicBezTo>
                <a:cubicBezTo>
                  <a:pt x="11426743" y="617474"/>
                  <a:pt x="11422521" y="618881"/>
                  <a:pt x="11415482" y="618881"/>
                </a:cubicBezTo>
                <a:cubicBezTo>
                  <a:pt x="11390146" y="621696"/>
                  <a:pt x="11380292" y="611843"/>
                  <a:pt x="11373254" y="607620"/>
                </a:cubicBezTo>
                <a:cubicBezTo>
                  <a:pt x="11371846" y="607620"/>
                  <a:pt x="11370439" y="606213"/>
                  <a:pt x="11370439" y="606213"/>
                </a:cubicBezTo>
                <a:cubicBezTo>
                  <a:pt x="11370439" y="606213"/>
                  <a:pt x="11370439" y="606213"/>
                  <a:pt x="11369031" y="607620"/>
                </a:cubicBezTo>
                <a:cubicBezTo>
                  <a:pt x="11364808" y="611843"/>
                  <a:pt x="11357769" y="624511"/>
                  <a:pt x="11357769" y="637181"/>
                </a:cubicBezTo>
                <a:cubicBezTo>
                  <a:pt x="11359178" y="658295"/>
                  <a:pt x="11373254" y="670963"/>
                  <a:pt x="11377476" y="673778"/>
                </a:cubicBezTo>
                <a:cubicBezTo>
                  <a:pt x="11381700" y="676593"/>
                  <a:pt x="11384514" y="678002"/>
                  <a:pt x="11384514" y="678002"/>
                </a:cubicBezTo>
                <a:cubicBezTo>
                  <a:pt x="11384514" y="678002"/>
                  <a:pt x="11384514" y="676593"/>
                  <a:pt x="11384514" y="675187"/>
                </a:cubicBezTo>
                <a:cubicBezTo>
                  <a:pt x="11384514" y="672371"/>
                  <a:pt x="11384514" y="669556"/>
                  <a:pt x="11387331" y="665332"/>
                </a:cubicBezTo>
                <a:cubicBezTo>
                  <a:pt x="11392960" y="655479"/>
                  <a:pt x="11401406" y="659702"/>
                  <a:pt x="11405629" y="661110"/>
                </a:cubicBezTo>
                <a:cubicBezTo>
                  <a:pt x="11407036" y="661110"/>
                  <a:pt x="11407036" y="661110"/>
                  <a:pt x="11407036" y="662517"/>
                </a:cubicBezTo>
                <a:cubicBezTo>
                  <a:pt x="11411260" y="663925"/>
                  <a:pt x="11415482" y="666741"/>
                  <a:pt x="11419706" y="666741"/>
                </a:cubicBezTo>
                <a:cubicBezTo>
                  <a:pt x="11423928" y="666741"/>
                  <a:pt x="11429558" y="663925"/>
                  <a:pt x="11432374" y="662517"/>
                </a:cubicBezTo>
                <a:cubicBezTo>
                  <a:pt x="11439413" y="659702"/>
                  <a:pt x="11446450" y="658295"/>
                  <a:pt x="11450674" y="662517"/>
                </a:cubicBezTo>
                <a:cubicBezTo>
                  <a:pt x="11454896" y="666741"/>
                  <a:pt x="11453489" y="676593"/>
                  <a:pt x="11453489" y="678002"/>
                </a:cubicBezTo>
                <a:lnTo>
                  <a:pt x="11453489" y="679409"/>
                </a:lnTo>
                <a:lnTo>
                  <a:pt x="11452081" y="679409"/>
                </a:lnTo>
                <a:cubicBezTo>
                  <a:pt x="11436598" y="673778"/>
                  <a:pt x="11430967" y="675187"/>
                  <a:pt x="11418297" y="676593"/>
                </a:cubicBezTo>
                <a:cubicBezTo>
                  <a:pt x="11411260" y="678002"/>
                  <a:pt x="11404221" y="682224"/>
                  <a:pt x="11398590" y="685039"/>
                </a:cubicBezTo>
                <a:cubicBezTo>
                  <a:pt x="11385922" y="692078"/>
                  <a:pt x="11380292" y="697709"/>
                  <a:pt x="11364808" y="692078"/>
                </a:cubicBezTo>
                <a:cubicBezTo>
                  <a:pt x="11350732" y="686448"/>
                  <a:pt x="11346508" y="678002"/>
                  <a:pt x="11343693" y="672371"/>
                </a:cubicBezTo>
                <a:cubicBezTo>
                  <a:pt x="11342286" y="670963"/>
                  <a:pt x="11342286" y="669556"/>
                  <a:pt x="11342286" y="669556"/>
                </a:cubicBezTo>
                <a:cubicBezTo>
                  <a:pt x="11342286" y="669556"/>
                  <a:pt x="11340878" y="670963"/>
                  <a:pt x="11340878" y="673778"/>
                </a:cubicBezTo>
                <a:cubicBezTo>
                  <a:pt x="11338062" y="680817"/>
                  <a:pt x="11338062" y="694894"/>
                  <a:pt x="11349323" y="707561"/>
                </a:cubicBezTo>
                <a:cubicBezTo>
                  <a:pt x="11364808" y="725860"/>
                  <a:pt x="11380292" y="718823"/>
                  <a:pt x="11390146" y="713192"/>
                </a:cubicBezTo>
                <a:lnTo>
                  <a:pt x="11391553" y="711785"/>
                </a:lnTo>
                <a:lnTo>
                  <a:pt x="11391553" y="713192"/>
                </a:lnTo>
                <a:cubicBezTo>
                  <a:pt x="11391553" y="716007"/>
                  <a:pt x="11392960" y="721638"/>
                  <a:pt x="11395775" y="727269"/>
                </a:cubicBezTo>
                <a:cubicBezTo>
                  <a:pt x="11398590" y="732899"/>
                  <a:pt x="11405629" y="739937"/>
                  <a:pt x="11414075" y="739937"/>
                </a:cubicBezTo>
                <a:cubicBezTo>
                  <a:pt x="11419706" y="739937"/>
                  <a:pt x="11428152" y="735715"/>
                  <a:pt x="11436598" y="730084"/>
                </a:cubicBezTo>
                <a:cubicBezTo>
                  <a:pt x="11452081" y="721638"/>
                  <a:pt x="11464749" y="710377"/>
                  <a:pt x="11484456" y="713192"/>
                </a:cubicBezTo>
                <a:cubicBezTo>
                  <a:pt x="11515424" y="718823"/>
                  <a:pt x="11540762" y="765274"/>
                  <a:pt x="11552023" y="786388"/>
                </a:cubicBezTo>
                <a:cubicBezTo>
                  <a:pt x="11554838" y="790612"/>
                  <a:pt x="11556245" y="794834"/>
                  <a:pt x="11557654" y="796242"/>
                </a:cubicBezTo>
                <a:cubicBezTo>
                  <a:pt x="11557654" y="796242"/>
                  <a:pt x="11557654" y="796242"/>
                  <a:pt x="11557654" y="797649"/>
                </a:cubicBezTo>
                <a:cubicBezTo>
                  <a:pt x="11559060" y="799058"/>
                  <a:pt x="11561876" y="803280"/>
                  <a:pt x="11563284" y="801873"/>
                </a:cubicBezTo>
                <a:cubicBezTo>
                  <a:pt x="11566099" y="800464"/>
                  <a:pt x="11566099" y="797649"/>
                  <a:pt x="11566099" y="797649"/>
                </a:cubicBezTo>
                <a:cubicBezTo>
                  <a:pt x="11568915" y="772313"/>
                  <a:pt x="11585806" y="762459"/>
                  <a:pt x="11595659" y="758237"/>
                </a:cubicBezTo>
                <a:cubicBezTo>
                  <a:pt x="11605512" y="754013"/>
                  <a:pt x="11615366" y="754013"/>
                  <a:pt x="11622404" y="754013"/>
                </a:cubicBezTo>
                <a:cubicBezTo>
                  <a:pt x="11623812" y="754013"/>
                  <a:pt x="11623812" y="754013"/>
                  <a:pt x="11625219" y="754013"/>
                </a:cubicBezTo>
                <a:cubicBezTo>
                  <a:pt x="11630849" y="754013"/>
                  <a:pt x="11639295" y="749791"/>
                  <a:pt x="11650556" y="744160"/>
                </a:cubicBezTo>
                <a:cubicBezTo>
                  <a:pt x="11667448" y="735715"/>
                  <a:pt x="11689971" y="724453"/>
                  <a:pt x="11718122" y="718823"/>
                </a:cubicBezTo>
                <a:cubicBezTo>
                  <a:pt x="11725161" y="717414"/>
                  <a:pt x="11727976" y="718823"/>
                  <a:pt x="11727976" y="721638"/>
                </a:cubicBezTo>
                <a:cubicBezTo>
                  <a:pt x="11727976" y="723045"/>
                  <a:pt x="11727976" y="727269"/>
                  <a:pt x="11725161" y="728675"/>
                </a:cubicBezTo>
                <a:lnTo>
                  <a:pt x="11720939" y="730084"/>
                </a:lnTo>
                <a:cubicBezTo>
                  <a:pt x="11692786" y="742752"/>
                  <a:pt x="11649150" y="758237"/>
                  <a:pt x="11639295" y="789205"/>
                </a:cubicBezTo>
                <a:cubicBezTo>
                  <a:pt x="11636480" y="794834"/>
                  <a:pt x="11636480" y="801873"/>
                  <a:pt x="11636480" y="810319"/>
                </a:cubicBezTo>
                <a:cubicBezTo>
                  <a:pt x="11636480" y="813134"/>
                  <a:pt x="11636480" y="815949"/>
                  <a:pt x="11636480" y="820172"/>
                </a:cubicBezTo>
                <a:cubicBezTo>
                  <a:pt x="11636480" y="855362"/>
                  <a:pt x="11619588" y="876477"/>
                  <a:pt x="11609736" y="886330"/>
                </a:cubicBezTo>
                <a:cubicBezTo>
                  <a:pt x="11599881" y="896185"/>
                  <a:pt x="11590028" y="904629"/>
                  <a:pt x="11582989" y="908852"/>
                </a:cubicBezTo>
                <a:cubicBezTo>
                  <a:pt x="11580176" y="911668"/>
                  <a:pt x="11577361" y="913074"/>
                  <a:pt x="11577361" y="914483"/>
                </a:cubicBezTo>
                <a:cubicBezTo>
                  <a:pt x="11577361" y="914483"/>
                  <a:pt x="11574544" y="917298"/>
                  <a:pt x="11571730" y="921520"/>
                </a:cubicBezTo>
                <a:cubicBezTo>
                  <a:pt x="11564691" y="929966"/>
                  <a:pt x="11554838" y="942636"/>
                  <a:pt x="11544984" y="951082"/>
                </a:cubicBezTo>
                <a:cubicBezTo>
                  <a:pt x="11535131" y="960934"/>
                  <a:pt x="11522463" y="969380"/>
                  <a:pt x="11518239" y="969380"/>
                </a:cubicBezTo>
                <a:cubicBezTo>
                  <a:pt x="11516833" y="969380"/>
                  <a:pt x="11516833" y="969380"/>
                  <a:pt x="11516833" y="969380"/>
                </a:cubicBezTo>
                <a:cubicBezTo>
                  <a:pt x="11516833" y="969380"/>
                  <a:pt x="11515424" y="967974"/>
                  <a:pt x="11515424" y="967974"/>
                </a:cubicBezTo>
                <a:cubicBezTo>
                  <a:pt x="11515424" y="965158"/>
                  <a:pt x="11521055" y="958119"/>
                  <a:pt x="11529501" y="946858"/>
                </a:cubicBezTo>
                <a:cubicBezTo>
                  <a:pt x="11539353" y="935597"/>
                  <a:pt x="11543577" y="928560"/>
                  <a:pt x="11543577" y="927151"/>
                </a:cubicBezTo>
                <a:cubicBezTo>
                  <a:pt x="11542168" y="927151"/>
                  <a:pt x="11536538" y="929966"/>
                  <a:pt x="11529501" y="932782"/>
                </a:cubicBezTo>
                <a:cubicBezTo>
                  <a:pt x="11525277" y="934190"/>
                  <a:pt x="11521055" y="937005"/>
                  <a:pt x="11515424" y="939821"/>
                </a:cubicBezTo>
                <a:cubicBezTo>
                  <a:pt x="11495717" y="949673"/>
                  <a:pt x="11453489" y="963750"/>
                  <a:pt x="11447857" y="958119"/>
                </a:cubicBezTo>
                <a:cubicBezTo>
                  <a:pt x="11446450" y="956712"/>
                  <a:pt x="11446450" y="956712"/>
                  <a:pt x="11447857" y="955304"/>
                </a:cubicBezTo>
                <a:cubicBezTo>
                  <a:pt x="11447857" y="952489"/>
                  <a:pt x="11454896" y="949673"/>
                  <a:pt x="11467564" y="942636"/>
                </a:cubicBezTo>
                <a:cubicBezTo>
                  <a:pt x="11488680" y="932782"/>
                  <a:pt x="11521055" y="915892"/>
                  <a:pt x="11528092" y="893369"/>
                </a:cubicBezTo>
                <a:cubicBezTo>
                  <a:pt x="11523870" y="893369"/>
                  <a:pt x="11509794" y="893369"/>
                  <a:pt x="11491495" y="866623"/>
                </a:cubicBezTo>
                <a:cubicBezTo>
                  <a:pt x="11468973" y="832841"/>
                  <a:pt x="11456303" y="801873"/>
                  <a:pt x="11430967" y="801873"/>
                </a:cubicBezTo>
                <a:cubicBezTo>
                  <a:pt x="11401406" y="801873"/>
                  <a:pt x="11339471" y="842694"/>
                  <a:pt x="11316948" y="856770"/>
                </a:cubicBezTo>
                <a:cubicBezTo>
                  <a:pt x="11298650" y="824395"/>
                  <a:pt x="11288796" y="789205"/>
                  <a:pt x="11288796" y="749791"/>
                </a:cubicBezTo>
                <a:cubicBezTo>
                  <a:pt x="11288796" y="628735"/>
                  <a:pt x="11387331" y="530201"/>
                  <a:pt x="11508387" y="530201"/>
                </a:cubicBezTo>
                <a:close/>
                <a:moveTo>
                  <a:pt x="11509794" y="511901"/>
                </a:moveTo>
                <a:cubicBezTo>
                  <a:pt x="11377476" y="511901"/>
                  <a:pt x="11270497" y="618881"/>
                  <a:pt x="11270497" y="751198"/>
                </a:cubicBezTo>
                <a:cubicBezTo>
                  <a:pt x="11270497" y="883515"/>
                  <a:pt x="11377476" y="990494"/>
                  <a:pt x="11509794" y="990494"/>
                </a:cubicBezTo>
                <a:cubicBezTo>
                  <a:pt x="11642111" y="990494"/>
                  <a:pt x="11749090" y="883515"/>
                  <a:pt x="11749090" y="751198"/>
                </a:cubicBezTo>
                <a:cubicBezTo>
                  <a:pt x="11749090" y="618881"/>
                  <a:pt x="11642111" y="511901"/>
                  <a:pt x="11509794" y="511901"/>
                </a:cubicBezTo>
                <a:close/>
                <a:moveTo>
                  <a:pt x="0" y="0"/>
                </a:moveTo>
                <a:lnTo>
                  <a:pt x="12193588" y="0"/>
                </a:lnTo>
                <a:lnTo>
                  <a:pt x="1219358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10D2ED-3F5B-4C81-8C9A-814ECAE3AC0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41844" y="1906331"/>
            <a:ext cx="6858000" cy="461665"/>
          </a:xfrm>
        </p:spPr>
        <p:txBody>
          <a:bodyPr vert="horz" anchor="b">
            <a:spAutoFit/>
          </a:bodyPr>
          <a:lstStyle>
            <a:lvl1pPr algn="l">
              <a:defRPr sz="3000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936775A-0DE1-49FB-B66C-8ED26CC79C5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1844" y="2437052"/>
            <a:ext cx="6858000" cy="461665"/>
          </a:xfrm>
        </p:spPr>
        <p:txBody>
          <a:bodyPr>
            <a:spAutoFit/>
          </a:bodyPr>
          <a:lstStyle>
            <a:lvl1pPr marL="0" indent="0" algn="l">
              <a:spcBef>
                <a:spcPts val="900"/>
              </a:spcBef>
              <a:spcAft>
                <a:spcPts val="600"/>
              </a:spcAft>
              <a:buNone/>
              <a:defRPr sz="3000" b="0" i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225"/>
              </a:spcAft>
              <a:buNone/>
              <a:defRPr sz="1200" i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67068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9FCC3B"/>
          </p15:clr>
        </p15:guide>
        <p15:guide id="2" pos="3840">
          <p15:clr>
            <a:srgbClr val="9FCC3B"/>
          </p15:clr>
        </p15:guide>
        <p15:guide id="3" pos="279">
          <p15:clr>
            <a:srgbClr val="9FCC3B"/>
          </p15:clr>
        </p15:guide>
        <p15:guide id="4" pos="7401">
          <p15:clr>
            <a:srgbClr val="9FCC3B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+Right Picture 50:50 |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9E07955-1377-4E99-B69E-DB02D05BE7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453936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4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9E07955-1377-4E99-B69E-DB02D05BE7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CE740D4-1B25-4367-9B11-A14AE3B9F6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185" y="341295"/>
            <a:ext cx="3969544" cy="276999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2BB489-86A6-4D41-BFFD-2AD8081D3C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2185" y="1369219"/>
            <a:ext cx="3969544" cy="344328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extplatzhalter 16">
            <a:extLst>
              <a:ext uri="{FF2B5EF4-FFF2-40B4-BE49-F238E27FC236}">
                <a16:creationId xmlns:a16="http://schemas.microsoft.com/office/drawing/2014/main" id="{578603F6-7C4F-4597-A4FD-FC0CC443EB50}"/>
              </a:ext>
            </a:extLst>
          </p:cNvPr>
          <p:cNvSpPr txBox="1">
            <a:spLocks/>
          </p:cNvSpPr>
          <p:nvPr/>
        </p:nvSpPr>
        <p:spPr bwMode="gray">
          <a:xfrm>
            <a:off x="332185" y="956104"/>
            <a:ext cx="287687" cy="216000"/>
          </a:xfrm>
          <a:prstGeom prst="rect">
            <a:avLst/>
          </a:prstGeom>
          <a:noFill/>
        </p:spPr>
        <p:txBody>
          <a:bodyPr vert="horz" lIns="0" tIns="108000" rIns="0" bIns="0" rtlCol="0" anchor="b">
            <a:no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783" rtl="0" eaLnBrk="1" latinLnBrk="0" hangingPunct="1">
              <a:lnSpc>
                <a:spcPct val="100000"/>
              </a:lnSpc>
              <a:spcBef>
                <a:spcPts val="288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—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B31AD26-D53E-4A20-83D7-02E9843F2C5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  <a:custGeom>
            <a:avLst/>
            <a:gdLst>
              <a:gd name="connsiteX0" fmla="*/ 5520773 w 6096000"/>
              <a:gd name="connsiteY0" fmla="*/ 766683 h 6858000"/>
              <a:gd name="connsiteX1" fmla="*/ 5510920 w 6096000"/>
              <a:gd name="connsiteY1" fmla="*/ 776535 h 6858000"/>
              <a:gd name="connsiteX2" fmla="*/ 5520773 w 6096000"/>
              <a:gd name="connsiteY2" fmla="*/ 786388 h 6858000"/>
              <a:gd name="connsiteX3" fmla="*/ 5530627 w 6096000"/>
              <a:gd name="connsiteY3" fmla="*/ 776535 h 6858000"/>
              <a:gd name="connsiteX4" fmla="*/ 5520773 w 6096000"/>
              <a:gd name="connsiteY4" fmla="*/ 766683 h 6858000"/>
              <a:gd name="connsiteX5" fmla="*/ 5339366 w 6096000"/>
              <a:gd name="connsiteY5" fmla="*/ 690142 h 6858000"/>
              <a:gd name="connsiteX6" fmla="*/ 5354674 w 6096000"/>
              <a:gd name="connsiteY6" fmla="*/ 692078 h 6858000"/>
              <a:gd name="connsiteX7" fmla="*/ 5356081 w 6096000"/>
              <a:gd name="connsiteY7" fmla="*/ 692078 h 6858000"/>
              <a:gd name="connsiteX8" fmla="*/ 5354674 w 6096000"/>
              <a:gd name="connsiteY8" fmla="*/ 693485 h 6858000"/>
              <a:gd name="connsiteX9" fmla="*/ 5334967 w 6096000"/>
              <a:gd name="connsiteY9" fmla="*/ 710377 h 6858000"/>
              <a:gd name="connsiteX10" fmla="*/ 5318075 w 6096000"/>
              <a:gd name="connsiteY10" fmla="*/ 714599 h 6858000"/>
              <a:gd name="connsiteX11" fmla="*/ 5303999 w 6096000"/>
              <a:gd name="connsiteY11" fmla="*/ 711785 h 6858000"/>
              <a:gd name="connsiteX12" fmla="*/ 5320891 w 6096000"/>
              <a:gd name="connsiteY12" fmla="*/ 697709 h 6858000"/>
              <a:gd name="connsiteX13" fmla="*/ 5339366 w 6096000"/>
              <a:gd name="connsiteY13" fmla="*/ 690142 h 6858000"/>
              <a:gd name="connsiteX14" fmla="*/ 5365934 w 6096000"/>
              <a:gd name="connsiteY14" fmla="*/ 609028 h 6858000"/>
              <a:gd name="connsiteX15" fmla="*/ 5378603 w 6096000"/>
              <a:gd name="connsiteY15" fmla="*/ 618881 h 6858000"/>
              <a:gd name="connsiteX16" fmla="*/ 5365934 w 6096000"/>
              <a:gd name="connsiteY16" fmla="*/ 628735 h 6858000"/>
              <a:gd name="connsiteX17" fmla="*/ 5353266 w 6096000"/>
              <a:gd name="connsiteY17" fmla="*/ 618881 h 6858000"/>
              <a:gd name="connsiteX18" fmla="*/ 5365934 w 6096000"/>
              <a:gd name="connsiteY18" fmla="*/ 609028 h 6858000"/>
              <a:gd name="connsiteX19" fmla="*/ 5412387 w 6096000"/>
              <a:gd name="connsiteY19" fmla="*/ 530201 h 6858000"/>
              <a:gd name="connsiteX20" fmla="*/ 5578486 w 6096000"/>
              <a:gd name="connsiteY20" fmla="*/ 606213 h 6858000"/>
              <a:gd name="connsiteX21" fmla="*/ 5582709 w 6096000"/>
              <a:gd name="connsiteY21" fmla="*/ 679408 h 6858000"/>
              <a:gd name="connsiteX22" fmla="*/ 5529219 w 6096000"/>
              <a:gd name="connsiteY22" fmla="*/ 676593 h 6858000"/>
              <a:gd name="connsiteX23" fmla="*/ 5533443 w 6096000"/>
              <a:gd name="connsiteY23" fmla="*/ 666741 h 6858000"/>
              <a:gd name="connsiteX24" fmla="*/ 5540480 w 6096000"/>
              <a:gd name="connsiteY24" fmla="*/ 665332 h 6858000"/>
              <a:gd name="connsiteX25" fmla="*/ 5541888 w 6096000"/>
              <a:gd name="connsiteY25" fmla="*/ 661110 h 6858000"/>
              <a:gd name="connsiteX26" fmla="*/ 5524997 w 6096000"/>
              <a:gd name="connsiteY26" fmla="*/ 655479 h 6858000"/>
              <a:gd name="connsiteX27" fmla="*/ 5503881 w 6096000"/>
              <a:gd name="connsiteY27" fmla="*/ 656888 h 6858000"/>
              <a:gd name="connsiteX28" fmla="*/ 5495435 w 6096000"/>
              <a:gd name="connsiteY28" fmla="*/ 654071 h 6858000"/>
              <a:gd name="connsiteX29" fmla="*/ 5492620 w 6096000"/>
              <a:gd name="connsiteY29" fmla="*/ 649849 h 6858000"/>
              <a:gd name="connsiteX30" fmla="*/ 5495435 w 6096000"/>
              <a:gd name="connsiteY30" fmla="*/ 641403 h 6858000"/>
              <a:gd name="connsiteX31" fmla="*/ 5503881 w 6096000"/>
              <a:gd name="connsiteY31" fmla="*/ 639996 h 6858000"/>
              <a:gd name="connsiteX32" fmla="*/ 5505290 w 6096000"/>
              <a:gd name="connsiteY32" fmla="*/ 635772 h 6858000"/>
              <a:gd name="connsiteX33" fmla="*/ 5488398 w 6096000"/>
              <a:gd name="connsiteY33" fmla="*/ 630142 h 6858000"/>
              <a:gd name="connsiteX34" fmla="*/ 5467284 w 6096000"/>
              <a:gd name="connsiteY34" fmla="*/ 631550 h 6858000"/>
              <a:gd name="connsiteX35" fmla="*/ 5458838 w 6096000"/>
              <a:gd name="connsiteY35" fmla="*/ 628735 h 6858000"/>
              <a:gd name="connsiteX36" fmla="*/ 5456023 w 6096000"/>
              <a:gd name="connsiteY36" fmla="*/ 624511 h 6858000"/>
              <a:gd name="connsiteX37" fmla="*/ 5458838 w 6096000"/>
              <a:gd name="connsiteY37" fmla="*/ 614659 h 6858000"/>
              <a:gd name="connsiteX38" fmla="*/ 5467284 w 6096000"/>
              <a:gd name="connsiteY38" fmla="*/ 613250 h 6858000"/>
              <a:gd name="connsiteX39" fmla="*/ 5468691 w 6096000"/>
              <a:gd name="connsiteY39" fmla="*/ 609028 h 6858000"/>
              <a:gd name="connsiteX40" fmla="*/ 5451799 w 6096000"/>
              <a:gd name="connsiteY40" fmla="*/ 603397 h 6858000"/>
              <a:gd name="connsiteX41" fmla="*/ 5430685 w 6096000"/>
              <a:gd name="connsiteY41" fmla="*/ 604804 h 6858000"/>
              <a:gd name="connsiteX42" fmla="*/ 5426463 w 6096000"/>
              <a:gd name="connsiteY42" fmla="*/ 603397 h 6858000"/>
              <a:gd name="connsiteX43" fmla="*/ 5425055 w 6096000"/>
              <a:gd name="connsiteY43" fmla="*/ 600582 h 6858000"/>
              <a:gd name="connsiteX44" fmla="*/ 5426463 w 6096000"/>
              <a:gd name="connsiteY44" fmla="*/ 593545 h 6858000"/>
              <a:gd name="connsiteX45" fmla="*/ 5427870 w 6096000"/>
              <a:gd name="connsiteY45" fmla="*/ 573836 h 6858000"/>
              <a:gd name="connsiteX46" fmla="*/ 5415200 w 6096000"/>
              <a:gd name="connsiteY46" fmla="*/ 551315 h 6858000"/>
              <a:gd name="connsiteX47" fmla="*/ 5410978 w 6096000"/>
              <a:gd name="connsiteY47" fmla="*/ 549907 h 6858000"/>
              <a:gd name="connsiteX48" fmla="*/ 5409571 w 6096000"/>
              <a:gd name="connsiteY48" fmla="*/ 555537 h 6858000"/>
              <a:gd name="connsiteX49" fmla="*/ 5384234 w 6096000"/>
              <a:gd name="connsiteY49" fmla="*/ 589321 h 6858000"/>
              <a:gd name="connsiteX50" fmla="*/ 5375788 w 6096000"/>
              <a:gd name="connsiteY50" fmla="*/ 589321 h 6858000"/>
              <a:gd name="connsiteX51" fmla="*/ 5370157 w 6096000"/>
              <a:gd name="connsiteY51" fmla="*/ 589321 h 6858000"/>
              <a:gd name="connsiteX52" fmla="*/ 5367342 w 6096000"/>
              <a:gd name="connsiteY52" fmla="*/ 589321 h 6858000"/>
              <a:gd name="connsiteX53" fmla="*/ 5361711 w 6096000"/>
              <a:gd name="connsiteY53" fmla="*/ 589321 h 6858000"/>
              <a:gd name="connsiteX54" fmla="*/ 5353266 w 6096000"/>
              <a:gd name="connsiteY54" fmla="*/ 590728 h 6858000"/>
              <a:gd name="connsiteX55" fmla="*/ 5333558 w 6096000"/>
              <a:gd name="connsiteY55" fmla="*/ 610435 h 6858000"/>
              <a:gd name="connsiteX56" fmla="*/ 5333558 w 6096000"/>
              <a:gd name="connsiteY56" fmla="*/ 613250 h 6858000"/>
              <a:gd name="connsiteX57" fmla="*/ 5330743 w 6096000"/>
              <a:gd name="connsiteY57" fmla="*/ 617474 h 6858000"/>
              <a:gd name="connsiteX58" fmla="*/ 5319482 w 6096000"/>
              <a:gd name="connsiteY58" fmla="*/ 618881 h 6858000"/>
              <a:gd name="connsiteX59" fmla="*/ 5277254 w 6096000"/>
              <a:gd name="connsiteY59" fmla="*/ 607619 h 6858000"/>
              <a:gd name="connsiteX60" fmla="*/ 5274439 w 6096000"/>
              <a:gd name="connsiteY60" fmla="*/ 606213 h 6858000"/>
              <a:gd name="connsiteX61" fmla="*/ 5273031 w 6096000"/>
              <a:gd name="connsiteY61" fmla="*/ 607619 h 6858000"/>
              <a:gd name="connsiteX62" fmla="*/ 5261769 w 6096000"/>
              <a:gd name="connsiteY62" fmla="*/ 637181 h 6858000"/>
              <a:gd name="connsiteX63" fmla="*/ 5281476 w 6096000"/>
              <a:gd name="connsiteY63" fmla="*/ 673778 h 6858000"/>
              <a:gd name="connsiteX64" fmla="*/ 5288514 w 6096000"/>
              <a:gd name="connsiteY64" fmla="*/ 678002 h 6858000"/>
              <a:gd name="connsiteX65" fmla="*/ 5288514 w 6096000"/>
              <a:gd name="connsiteY65" fmla="*/ 675186 h 6858000"/>
              <a:gd name="connsiteX66" fmla="*/ 5291331 w 6096000"/>
              <a:gd name="connsiteY66" fmla="*/ 665332 h 6858000"/>
              <a:gd name="connsiteX67" fmla="*/ 5309629 w 6096000"/>
              <a:gd name="connsiteY67" fmla="*/ 661110 h 6858000"/>
              <a:gd name="connsiteX68" fmla="*/ 5311036 w 6096000"/>
              <a:gd name="connsiteY68" fmla="*/ 662517 h 6858000"/>
              <a:gd name="connsiteX69" fmla="*/ 5323706 w 6096000"/>
              <a:gd name="connsiteY69" fmla="*/ 666741 h 6858000"/>
              <a:gd name="connsiteX70" fmla="*/ 5336374 w 6096000"/>
              <a:gd name="connsiteY70" fmla="*/ 662517 h 6858000"/>
              <a:gd name="connsiteX71" fmla="*/ 5354674 w 6096000"/>
              <a:gd name="connsiteY71" fmla="*/ 662517 h 6858000"/>
              <a:gd name="connsiteX72" fmla="*/ 5357489 w 6096000"/>
              <a:gd name="connsiteY72" fmla="*/ 678002 h 6858000"/>
              <a:gd name="connsiteX73" fmla="*/ 5357489 w 6096000"/>
              <a:gd name="connsiteY73" fmla="*/ 679408 h 6858000"/>
              <a:gd name="connsiteX74" fmla="*/ 5356081 w 6096000"/>
              <a:gd name="connsiteY74" fmla="*/ 679408 h 6858000"/>
              <a:gd name="connsiteX75" fmla="*/ 5322297 w 6096000"/>
              <a:gd name="connsiteY75" fmla="*/ 676593 h 6858000"/>
              <a:gd name="connsiteX76" fmla="*/ 5302590 w 6096000"/>
              <a:gd name="connsiteY76" fmla="*/ 685039 h 6858000"/>
              <a:gd name="connsiteX77" fmla="*/ 5268808 w 6096000"/>
              <a:gd name="connsiteY77" fmla="*/ 692078 h 6858000"/>
              <a:gd name="connsiteX78" fmla="*/ 5247693 w 6096000"/>
              <a:gd name="connsiteY78" fmla="*/ 672371 h 6858000"/>
              <a:gd name="connsiteX79" fmla="*/ 5246286 w 6096000"/>
              <a:gd name="connsiteY79" fmla="*/ 669556 h 6858000"/>
              <a:gd name="connsiteX80" fmla="*/ 5244878 w 6096000"/>
              <a:gd name="connsiteY80" fmla="*/ 673778 h 6858000"/>
              <a:gd name="connsiteX81" fmla="*/ 5253323 w 6096000"/>
              <a:gd name="connsiteY81" fmla="*/ 707561 h 6858000"/>
              <a:gd name="connsiteX82" fmla="*/ 5294146 w 6096000"/>
              <a:gd name="connsiteY82" fmla="*/ 713192 h 6858000"/>
              <a:gd name="connsiteX83" fmla="*/ 5295553 w 6096000"/>
              <a:gd name="connsiteY83" fmla="*/ 711785 h 6858000"/>
              <a:gd name="connsiteX84" fmla="*/ 5295553 w 6096000"/>
              <a:gd name="connsiteY84" fmla="*/ 713192 h 6858000"/>
              <a:gd name="connsiteX85" fmla="*/ 5299775 w 6096000"/>
              <a:gd name="connsiteY85" fmla="*/ 727269 h 6858000"/>
              <a:gd name="connsiteX86" fmla="*/ 5318075 w 6096000"/>
              <a:gd name="connsiteY86" fmla="*/ 739936 h 6858000"/>
              <a:gd name="connsiteX87" fmla="*/ 5340598 w 6096000"/>
              <a:gd name="connsiteY87" fmla="*/ 730084 h 6858000"/>
              <a:gd name="connsiteX88" fmla="*/ 5388456 w 6096000"/>
              <a:gd name="connsiteY88" fmla="*/ 713192 h 6858000"/>
              <a:gd name="connsiteX89" fmla="*/ 5456023 w 6096000"/>
              <a:gd name="connsiteY89" fmla="*/ 786388 h 6858000"/>
              <a:gd name="connsiteX90" fmla="*/ 5461654 w 6096000"/>
              <a:gd name="connsiteY90" fmla="*/ 796242 h 6858000"/>
              <a:gd name="connsiteX91" fmla="*/ 5461654 w 6096000"/>
              <a:gd name="connsiteY91" fmla="*/ 797649 h 6858000"/>
              <a:gd name="connsiteX92" fmla="*/ 5467284 w 6096000"/>
              <a:gd name="connsiteY92" fmla="*/ 801873 h 6858000"/>
              <a:gd name="connsiteX93" fmla="*/ 5470099 w 6096000"/>
              <a:gd name="connsiteY93" fmla="*/ 797649 h 6858000"/>
              <a:gd name="connsiteX94" fmla="*/ 5499659 w 6096000"/>
              <a:gd name="connsiteY94" fmla="*/ 758237 h 6858000"/>
              <a:gd name="connsiteX95" fmla="*/ 5526404 w 6096000"/>
              <a:gd name="connsiteY95" fmla="*/ 754013 h 6858000"/>
              <a:gd name="connsiteX96" fmla="*/ 5529219 w 6096000"/>
              <a:gd name="connsiteY96" fmla="*/ 754013 h 6858000"/>
              <a:gd name="connsiteX97" fmla="*/ 5554556 w 6096000"/>
              <a:gd name="connsiteY97" fmla="*/ 744160 h 6858000"/>
              <a:gd name="connsiteX98" fmla="*/ 5622122 w 6096000"/>
              <a:gd name="connsiteY98" fmla="*/ 718823 h 6858000"/>
              <a:gd name="connsiteX99" fmla="*/ 5631976 w 6096000"/>
              <a:gd name="connsiteY99" fmla="*/ 721638 h 6858000"/>
              <a:gd name="connsiteX100" fmla="*/ 5629161 w 6096000"/>
              <a:gd name="connsiteY100" fmla="*/ 728675 h 6858000"/>
              <a:gd name="connsiteX101" fmla="*/ 5624939 w 6096000"/>
              <a:gd name="connsiteY101" fmla="*/ 730084 h 6858000"/>
              <a:gd name="connsiteX102" fmla="*/ 5543295 w 6096000"/>
              <a:gd name="connsiteY102" fmla="*/ 789205 h 6858000"/>
              <a:gd name="connsiteX103" fmla="*/ 5540480 w 6096000"/>
              <a:gd name="connsiteY103" fmla="*/ 810319 h 6858000"/>
              <a:gd name="connsiteX104" fmla="*/ 5540480 w 6096000"/>
              <a:gd name="connsiteY104" fmla="*/ 820172 h 6858000"/>
              <a:gd name="connsiteX105" fmla="*/ 5513736 w 6096000"/>
              <a:gd name="connsiteY105" fmla="*/ 886330 h 6858000"/>
              <a:gd name="connsiteX106" fmla="*/ 5486989 w 6096000"/>
              <a:gd name="connsiteY106" fmla="*/ 908852 h 6858000"/>
              <a:gd name="connsiteX107" fmla="*/ 5481361 w 6096000"/>
              <a:gd name="connsiteY107" fmla="*/ 914483 h 6858000"/>
              <a:gd name="connsiteX108" fmla="*/ 5475730 w 6096000"/>
              <a:gd name="connsiteY108" fmla="*/ 921520 h 6858000"/>
              <a:gd name="connsiteX109" fmla="*/ 5448984 w 6096000"/>
              <a:gd name="connsiteY109" fmla="*/ 951082 h 6858000"/>
              <a:gd name="connsiteX110" fmla="*/ 5422239 w 6096000"/>
              <a:gd name="connsiteY110" fmla="*/ 969380 h 6858000"/>
              <a:gd name="connsiteX111" fmla="*/ 5420833 w 6096000"/>
              <a:gd name="connsiteY111" fmla="*/ 969380 h 6858000"/>
              <a:gd name="connsiteX112" fmla="*/ 5419424 w 6096000"/>
              <a:gd name="connsiteY112" fmla="*/ 967974 h 6858000"/>
              <a:gd name="connsiteX113" fmla="*/ 5433501 w 6096000"/>
              <a:gd name="connsiteY113" fmla="*/ 946858 h 6858000"/>
              <a:gd name="connsiteX114" fmla="*/ 5447577 w 6096000"/>
              <a:gd name="connsiteY114" fmla="*/ 927151 h 6858000"/>
              <a:gd name="connsiteX115" fmla="*/ 5433501 w 6096000"/>
              <a:gd name="connsiteY115" fmla="*/ 932781 h 6858000"/>
              <a:gd name="connsiteX116" fmla="*/ 5419424 w 6096000"/>
              <a:gd name="connsiteY116" fmla="*/ 939821 h 6858000"/>
              <a:gd name="connsiteX117" fmla="*/ 5351857 w 6096000"/>
              <a:gd name="connsiteY117" fmla="*/ 958119 h 6858000"/>
              <a:gd name="connsiteX118" fmla="*/ 5351857 w 6096000"/>
              <a:gd name="connsiteY118" fmla="*/ 955304 h 6858000"/>
              <a:gd name="connsiteX119" fmla="*/ 5371564 w 6096000"/>
              <a:gd name="connsiteY119" fmla="*/ 942636 h 6858000"/>
              <a:gd name="connsiteX120" fmla="*/ 5432092 w 6096000"/>
              <a:gd name="connsiteY120" fmla="*/ 893369 h 6858000"/>
              <a:gd name="connsiteX121" fmla="*/ 5395495 w 6096000"/>
              <a:gd name="connsiteY121" fmla="*/ 866623 h 6858000"/>
              <a:gd name="connsiteX122" fmla="*/ 5334967 w 6096000"/>
              <a:gd name="connsiteY122" fmla="*/ 801873 h 6858000"/>
              <a:gd name="connsiteX123" fmla="*/ 5220948 w 6096000"/>
              <a:gd name="connsiteY123" fmla="*/ 856770 h 6858000"/>
              <a:gd name="connsiteX124" fmla="*/ 5192796 w 6096000"/>
              <a:gd name="connsiteY124" fmla="*/ 749791 h 6858000"/>
              <a:gd name="connsiteX125" fmla="*/ 5412387 w 6096000"/>
              <a:gd name="connsiteY125" fmla="*/ 530201 h 6858000"/>
              <a:gd name="connsiteX126" fmla="*/ 5413794 w 6096000"/>
              <a:gd name="connsiteY126" fmla="*/ 511901 h 6858000"/>
              <a:gd name="connsiteX127" fmla="*/ 5174497 w 6096000"/>
              <a:gd name="connsiteY127" fmla="*/ 751198 h 6858000"/>
              <a:gd name="connsiteX128" fmla="*/ 5413794 w 6096000"/>
              <a:gd name="connsiteY128" fmla="*/ 990494 h 6858000"/>
              <a:gd name="connsiteX129" fmla="*/ 5653090 w 6096000"/>
              <a:gd name="connsiteY129" fmla="*/ 751198 h 6858000"/>
              <a:gd name="connsiteX130" fmla="*/ 5413794 w 6096000"/>
              <a:gd name="connsiteY130" fmla="*/ 511901 h 6858000"/>
              <a:gd name="connsiteX131" fmla="*/ 0 w 6096000"/>
              <a:gd name="connsiteY131" fmla="*/ 0 h 6858000"/>
              <a:gd name="connsiteX132" fmla="*/ 6096000 w 6096000"/>
              <a:gd name="connsiteY132" fmla="*/ 0 h 6858000"/>
              <a:gd name="connsiteX133" fmla="*/ 6096000 w 6096000"/>
              <a:gd name="connsiteY133" fmla="*/ 6858000 h 6858000"/>
              <a:gd name="connsiteX134" fmla="*/ 0 w 6096000"/>
              <a:gd name="connsiteY13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</a:cxnLst>
            <a:rect l="l" t="t" r="r" b="b"/>
            <a:pathLst>
              <a:path w="6096000" h="6858000">
                <a:moveTo>
                  <a:pt x="5520773" y="766683"/>
                </a:moveTo>
                <a:cubicBezTo>
                  <a:pt x="5515142" y="766683"/>
                  <a:pt x="5510920" y="770905"/>
                  <a:pt x="5510920" y="776535"/>
                </a:cubicBezTo>
                <a:cubicBezTo>
                  <a:pt x="5510920" y="782166"/>
                  <a:pt x="5515142" y="786388"/>
                  <a:pt x="5520773" y="786388"/>
                </a:cubicBezTo>
                <a:cubicBezTo>
                  <a:pt x="5526404" y="784981"/>
                  <a:pt x="5530627" y="780759"/>
                  <a:pt x="5530627" y="776535"/>
                </a:cubicBezTo>
                <a:cubicBezTo>
                  <a:pt x="5530627" y="770905"/>
                  <a:pt x="5526404" y="766683"/>
                  <a:pt x="5520773" y="766683"/>
                </a:cubicBezTo>
                <a:close/>
                <a:moveTo>
                  <a:pt x="5339366" y="690142"/>
                </a:moveTo>
                <a:cubicBezTo>
                  <a:pt x="5344820" y="689262"/>
                  <a:pt x="5349747" y="689966"/>
                  <a:pt x="5354674" y="692078"/>
                </a:cubicBezTo>
                <a:lnTo>
                  <a:pt x="5356081" y="692078"/>
                </a:lnTo>
                <a:cubicBezTo>
                  <a:pt x="5356081" y="692078"/>
                  <a:pt x="5356081" y="693485"/>
                  <a:pt x="5354674" y="693485"/>
                </a:cubicBezTo>
                <a:cubicBezTo>
                  <a:pt x="5351857" y="699116"/>
                  <a:pt x="5346228" y="706155"/>
                  <a:pt x="5334967" y="710377"/>
                </a:cubicBezTo>
                <a:cubicBezTo>
                  <a:pt x="5327928" y="713192"/>
                  <a:pt x="5323706" y="714599"/>
                  <a:pt x="5318075" y="714599"/>
                </a:cubicBezTo>
                <a:cubicBezTo>
                  <a:pt x="5311036" y="714599"/>
                  <a:pt x="5305406" y="713192"/>
                  <a:pt x="5303999" y="711785"/>
                </a:cubicBezTo>
                <a:cubicBezTo>
                  <a:pt x="5303999" y="711785"/>
                  <a:pt x="5311036" y="704746"/>
                  <a:pt x="5320891" y="697709"/>
                </a:cubicBezTo>
                <a:cubicBezTo>
                  <a:pt x="5327929" y="693486"/>
                  <a:pt x="5333911" y="691022"/>
                  <a:pt x="5339366" y="690142"/>
                </a:cubicBezTo>
                <a:close/>
                <a:moveTo>
                  <a:pt x="5365934" y="609028"/>
                </a:moveTo>
                <a:cubicBezTo>
                  <a:pt x="5372973" y="609028"/>
                  <a:pt x="5378603" y="613250"/>
                  <a:pt x="5378603" y="618881"/>
                </a:cubicBezTo>
                <a:cubicBezTo>
                  <a:pt x="5378603" y="624511"/>
                  <a:pt x="5372973" y="628735"/>
                  <a:pt x="5365934" y="628735"/>
                </a:cubicBezTo>
                <a:cubicBezTo>
                  <a:pt x="5358896" y="628735"/>
                  <a:pt x="5353266" y="624511"/>
                  <a:pt x="5353266" y="618881"/>
                </a:cubicBezTo>
                <a:cubicBezTo>
                  <a:pt x="5353266" y="613250"/>
                  <a:pt x="5358896" y="609028"/>
                  <a:pt x="5365934" y="609028"/>
                </a:cubicBezTo>
                <a:close/>
                <a:moveTo>
                  <a:pt x="5412387" y="530201"/>
                </a:moveTo>
                <a:cubicBezTo>
                  <a:pt x="5478544" y="530201"/>
                  <a:pt x="5537665" y="559761"/>
                  <a:pt x="5578486" y="606213"/>
                </a:cubicBezTo>
                <a:cubicBezTo>
                  <a:pt x="5603823" y="638588"/>
                  <a:pt x="5599601" y="665332"/>
                  <a:pt x="5582709" y="679408"/>
                </a:cubicBezTo>
                <a:cubicBezTo>
                  <a:pt x="5561596" y="694893"/>
                  <a:pt x="5533443" y="689263"/>
                  <a:pt x="5529219" y="676593"/>
                </a:cubicBezTo>
                <a:cubicBezTo>
                  <a:pt x="5527812" y="669556"/>
                  <a:pt x="5533443" y="666741"/>
                  <a:pt x="5533443" y="666741"/>
                </a:cubicBezTo>
                <a:cubicBezTo>
                  <a:pt x="5534849" y="665332"/>
                  <a:pt x="5537665" y="665332"/>
                  <a:pt x="5540480" y="665332"/>
                </a:cubicBezTo>
                <a:cubicBezTo>
                  <a:pt x="5544704" y="665332"/>
                  <a:pt x="5544704" y="662517"/>
                  <a:pt x="5541888" y="661110"/>
                </a:cubicBezTo>
                <a:cubicBezTo>
                  <a:pt x="5537665" y="658295"/>
                  <a:pt x="5530627" y="655479"/>
                  <a:pt x="5524997" y="655479"/>
                </a:cubicBezTo>
                <a:cubicBezTo>
                  <a:pt x="5516551" y="655479"/>
                  <a:pt x="5503881" y="656888"/>
                  <a:pt x="5503881" y="656888"/>
                </a:cubicBezTo>
                <a:cubicBezTo>
                  <a:pt x="5501066" y="656888"/>
                  <a:pt x="5498252" y="655479"/>
                  <a:pt x="5495435" y="654071"/>
                </a:cubicBezTo>
                <a:cubicBezTo>
                  <a:pt x="5494028" y="652664"/>
                  <a:pt x="5492620" y="651256"/>
                  <a:pt x="5492620" y="649849"/>
                </a:cubicBezTo>
                <a:cubicBezTo>
                  <a:pt x="5491213" y="642811"/>
                  <a:pt x="5495435" y="641403"/>
                  <a:pt x="5495435" y="641403"/>
                </a:cubicBezTo>
                <a:cubicBezTo>
                  <a:pt x="5496844" y="639996"/>
                  <a:pt x="5501066" y="638588"/>
                  <a:pt x="5503881" y="639996"/>
                </a:cubicBezTo>
                <a:cubicBezTo>
                  <a:pt x="5508105" y="639996"/>
                  <a:pt x="5508105" y="637181"/>
                  <a:pt x="5505290" y="635772"/>
                </a:cubicBezTo>
                <a:cubicBezTo>
                  <a:pt x="5501066" y="632957"/>
                  <a:pt x="5494028" y="630142"/>
                  <a:pt x="5488398" y="630142"/>
                </a:cubicBezTo>
                <a:cubicBezTo>
                  <a:pt x="5479952" y="630142"/>
                  <a:pt x="5467284" y="631550"/>
                  <a:pt x="5467284" y="631550"/>
                </a:cubicBezTo>
                <a:cubicBezTo>
                  <a:pt x="5464469" y="631550"/>
                  <a:pt x="5461654" y="630142"/>
                  <a:pt x="5458838" y="628735"/>
                </a:cubicBezTo>
                <a:cubicBezTo>
                  <a:pt x="5457430" y="627326"/>
                  <a:pt x="5456023" y="625920"/>
                  <a:pt x="5456023" y="624511"/>
                </a:cubicBezTo>
                <a:cubicBezTo>
                  <a:pt x="5454614" y="617474"/>
                  <a:pt x="5458838" y="614659"/>
                  <a:pt x="5458838" y="614659"/>
                </a:cubicBezTo>
                <a:cubicBezTo>
                  <a:pt x="5460245" y="613250"/>
                  <a:pt x="5463060" y="611843"/>
                  <a:pt x="5467284" y="613250"/>
                </a:cubicBezTo>
                <a:cubicBezTo>
                  <a:pt x="5471506" y="613250"/>
                  <a:pt x="5471506" y="610435"/>
                  <a:pt x="5468691" y="609028"/>
                </a:cubicBezTo>
                <a:cubicBezTo>
                  <a:pt x="5464469" y="606213"/>
                  <a:pt x="5457430" y="603397"/>
                  <a:pt x="5451799" y="603397"/>
                </a:cubicBezTo>
                <a:cubicBezTo>
                  <a:pt x="5443353" y="603397"/>
                  <a:pt x="5430685" y="604804"/>
                  <a:pt x="5430685" y="604804"/>
                </a:cubicBezTo>
                <a:cubicBezTo>
                  <a:pt x="5429277" y="604804"/>
                  <a:pt x="5426463" y="604804"/>
                  <a:pt x="5426463" y="603397"/>
                </a:cubicBezTo>
                <a:cubicBezTo>
                  <a:pt x="5425055" y="601989"/>
                  <a:pt x="5425055" y="601989"/>
                  <a:pt x="5425055" y="600582"/>
                </a:cubicBezTo>
                <a:cubicBezTo>
                  <a:pt x="5425055" y="599174"/>
                  <a:pt x="5425055" y="596358"/>
                  <a:pt x="5426463" y="593545"/>
                </a:cubicBezTo>
                <a:cubicBezTo>
                  <a:pt x="5427870" y="587912"/>
                  <a:pt x="5429277" y="582282"/>
                  <a:pt x="5427870" y="573836"/>
                </a:cubicBezTo>
                <a:cubicBezTo>
                  <a:pt x="5426463" y="558353"/>
                  <a:pt x="5418017" y="552722"/>
                  <a:pt x="5415200" y="551315"/>
                </a:cubicBezTo>
                <a:cubicBezTo>
                  <a:pt x="5412387" y="549907"/>
                  <a:pt x="5410978" y="549907"/>
                  <a:pt x="5410978" y="549907"/>
                </a:cubicBezTo>
                <a:cubicBezTo>
                  <a:pt x="5410978" y="549907"/>
                  <a:pt x="5409571" y="552722"/>
                  <a:pt x="5409571" y="555537"/>
                </a:cubicBezTo>
                <a:cubicBezTo>
                  <a:pt x="5408163" y="566799"/>
                  <a:pt x="5406756" y="589321"/>
                  <a:pt x="5384234" y="589321"/>
                </a:cubicBezTo>
                <a:cubicBezTo>
                  <a:pt x="5381418" y="589321"/>
                  <a:pt x="5378603" y="589321"/>
                  <a:pt x="5375788" y="589321"/>
                </a:cubicBezTo>
                <a:cubicBezTo>
                  <a:pt x="5374379" y="589321"/>
                  <a:pt x="5371564" y="589321"/>
                  <a:pt x="5370157" y="589321"/>
                </a:cubicBezTo>
                <a:cubicBezTo>
                  <a:pt x="5368749" y="589321"/>
                  <a:pt x="5368749" y="589321"/>
                  <a:pt x="5367342" y="589321"/>
                </a:cubicBezTo>
                <a:cubicBezTo>
                  <a:pt x="5365934" y="589321"/>
                  <a:pt x="5363120" y="589321"/>
                  <a:pt x="5361711" y="589321"/>
                </a:cubicBezTo>
                <a:cubicBezTo>
                  <a:pt x="5358896" y="589321"/>
                  <a:pt x="5356081" y="589321"/>
                  <a:pt x="5353266" y="590728"/>
                </a:cubicBezTo>
                <a:cubicBezTo>
                  <a:pt x="5342004" y="593545"/>
                  <a:pt x="5334967" y="600582"/>
                  <a:pt x="5333558" y="610435"/>
                </a:cubicBezTo>
                <a:cubicBezTo>
                  <a:pt x="5333558" y="611843"/>
                  <a:pt x="5333558" y="611843"/>
                  <a:pt x="5333558" y="613250"/>
                </a:cubicBezTo>
                <a:cubicBezTo>
                  <a:pt x="5333558" y="614659"/>
                  <a:pt x="5333558" y="617474"/>
                  <a:pt x="5330743" y="617474"/>
                </a:cubicBezTo>
                <a:cubicBezTo>
                  <a:pt x="5330743" y="617474"/>
                  <a:pt x="5326521" y="618881"/>
                  <a:pt x="5319482" y="618881"/>
                </a:cubicBezTo>
                <a:cubicBezTo>
                  <a:pt x="5294146" y="621696"/>
                  <a:pt x="5284292" y="611843"/>
                  <a:pt x="5277254" y="607619"/>
                </a:cubicBezTo>
                <a:cubicBezTo>
                  <a:pt x="5275846" y="607619"/>
                  <a:pt x="5274439" y="606213"/>
                  <a:pt x="5274439" y="606213"/>
                </a:cubicBezTo>
                <a:cubicBezTo>
                  <a:pt x="5274439" y="606213"/>
                  <a:pt x="5274439" y="606213"/>
                  <a:pt x="5273031" y="607619"/>
                </a:cubicBezTo>
                <a:cubicBezTo>
                  <a:pt x="5268808" y="611843"/>
                  <a:pt x="5261769" y="624511"/>
                  <a:pt x="5261769" y="637181"/>
                </a:cubicBezTo>
                <a:cubicBezTo>
                  <a:pt x="5263178" y="658295"/>
                  <a:pt x="5277254" y="670963"/>
                  <a:pt x="5281476" y="673778"/>
                </a:cubicBezTo>
                <a:cubicBezTo>
                  <a:pt x="5285700" y="676593"/>
                  <a:pt x="5288514" y="678002"/>
                  <a:pt x="5288514" y="678002"/>
                </a:cubicBezTo>
                <a:cubicBezTo>
                  <a:pt x="5288514" y="678002"/>
                  <a:pt x="5288514" y="676593"/>
                  <a:pt x="5288514" y="675186"/>
                </a:cubicBezTo>
                <a:cubicBezTo>
                  <a:pt x="5288514" y="672371"/>
                  <a:pt x="5288514" y="669556"/>
                  <a:pt x="5291331" y="665332"/>
                </a:cubicBezTo>
                <a:cubicBezTo>
                  <a:pt x="5296960" y="655479"/>
                  <a:pt x="5305406" y="659701"/>
                  <a:pt x="5309629" y="661110"/>
                </a:cubicBezTo>
                <a:cubicBezTo>
                  <a:pt x="5311036" y="661110"/>
                  <a:pt x="5311036" y="661110"/>
                  <a:pt x="5311036" y="662517"/>
                </a:cubicBezTo>
                <a:cubicBezTo>
                  <a:pt x="5315260" y="663925"/>
                  <a:pt x="5319482" y="666741"/>
                  <a:pt x="5323706" y="666741"/>
                </a:cubicBezTo>
                <a:cubicBezTo>
                  <a:pt x="5327928" y="666741"/>
                  <a:pt x="5333558" y="663925"/>
                  <a:pt x="5336374" y="662517"/>
                </a:cubicBezTo>
                <a:cubicBezTo>
                  <a:pt x="5343413" y="659701"/>
                  <a:pt x="5350450" y="658295"/>
                  <a:pt x="5354674" y="662517"/>
                </a:cubicBezTo>
                <a:cubicBezTo>
                  <a:pt x="5358896" y="666741"/>
                  <a:pt x="5357489" y="676593"/>
                  <a:pt x="5357489" y="678002"/>
                </a:cubicBezTo>
                <a:lnTo>
                  <a:pt x="5357489" y="679408"/>
                </a:lnTo>
                <a:lnTo>
                  <a:pt x="5356081" y="679408"/>
                </a:lnTo>
                <a:cubicBezTo>
                  <a:pt x="5340598" y="673778"/>
                  <a:pt x="5334967" y="675186"/>
                  <a:pt x="5322297" y="676593"/>
                </a:cubicBezTo>
                <a:cubicBezTo>
                  <a:pt x="5315260" y="678002"/>
                  <a:pt x="5308221" y="682224"/>
                  <a:pt x="5302590" y="685039"/>
                </a:cubicBezTo>
                <a:cubicBezTo>
                  <a:pt x="5289922" y="692078"/>
                  <a:pt x="5284292" y="697709"/>
                  <a:pt x="5268808" y="692078"/>
                </a:cubicBezTo>
                <a:cubicBezTo>
                  <a:pt x="5254732" y="686448"/>
                  <a:pt x="5250508" y="678002"/>
                  <a:pt x="5247693" y="672371"/>
                </a:cubicBezTo>
                <a:cubicBezTo>
                  <a:pt x="5246286" y="670963"/>
                  <a:pt x="5246286" y="669556"/>
                  <a:pt x="5246286" y="669556"/>
                </a:cubicBezTo>
                <a:cubicBezTo>
                  <a:pt x="5246286" y="669556"/>
                  <a:pt x="5244878" y="670963"/>
                  <a:pt x="5244878" y="673778"/>
                </a:cubicBezTo>
                <a:cubicBezTo>
                  <a:pt x="5242062" y="680817"/>
                  <a:pt x="5242062" y="694893"/>
                  <a:pt x="5253323" y="707561"/>
                </a:cubicBezTo>
                <a:cubicBezTo>
                  <a:pt x="5268808" y="725860"/>
                  <a:pt x="5284292" y="718823"/>
                  <a:pt x="5294146" y="713192"/>
                </a:cubicBezTo>
                <a:lnTo>
                  <a:pt x="5295553" y="711785"/>
                </a:lnTo>
                <a:lnTo>
                  <a:pt x="5295553" y="713192"/>
                </a:lnTo>
                <a:cubicBezTo>
                  <a:pt x="5295553" y="716007"/>
                  <a:pt x="5296960" y="721638"/>
                  <a:pt x="5299775" y="727269"/>
                </a:cubicBezTo>
                <a:cubicBezTo>
                  <a:pt x="5302590" y="732899"/>
                  <a:pt x="5309629" y="739936"/>
                  <a:pt x="5318075" y="739936"/>
                </a:cubicBezTo>
                <a:cubicBezTo>
                  <a:pt x="5323706" y="739936"/>
                  <a:pt x="5332152" y="735714"/>
                  <a:pt x="5340598" y="730084"/>
                </a:cubicBezTo>
                <a:cubicBezTo>
                  <a:pt x="5356081" y="721638"/>
                  <a:pt x="5368749" y="710377"/>
                  <a:pt x="5388456" y="713192"/>
                </a:cubicBezTo>
                <a:cubicBezTo>
                  <a:pt x="5419424" y="718823"/>
                  <a:pt x="5444762" y="765274"/>
                  <a:pt x="5456023" y="786388"/>
                </a:cubicBezTo>
                <a:cubicBezTo>
                  <a:pt x="5458838" y="790612"/>
                  <a:pt x="5460245" y="794834"/>
                  <a:pt x="5461654" y="796242"/>
                </a:cubicBezTo>
                <a:cubicBezTo>
                  <a:pt x="5461654" y="796242"/>
                  <a:pt x="5461654" y="796242"/>
                  <a:pt x="5461654" y="797649"/>
                </a:cubicBezTo>
                <a:cubicBezTo>
                  <a:pt x="5463060" y="799058"/>
                  <a:pt x="5465876" y="803280"/>
                  <a:pt x="5467284" y="801873"/>
                </a:cubicBezTo>
                <a:cubicBezTo>
                  <a:pt x="5470099" y="800464"/>
                  <a:pt x="5470099" y="797649"/>
                  <a:pt x="5470099" y="797649"/>
                </a:cubicBezTo>
                <a:cubicBezTo>
                  <a:pt x="5472915" y="772313"/>
                  <a:pt x="5489806" y="762459"/>
                  <a:pt x="5499659" y="758237"/>
                </a:cubicBezTo>
                <a:cubicBezTo>
                  <a:pt x="5509512" y="754013"/>
                  <a:pt x="5519366" y="754013"/>
                  <a:pt x="5526404" y="754013"/>
                </a:cubicBezTo>
                <a:cubicBezTo>
                  <a:pt x="5527812" y="754013"/>
                  <a:pt x="5527812" y="754013"/>
                  <a:pt x="5529219" y="754013"/>
                </a:cubicBezTo>
                <a:cubicBezTo>
                  <a:pt x="5534849" y="754013"/>
                  <a:pt x="5543295" y="749791"/>
                  <a:pt x="5554556" y="744160"/>
                </a:cubicBezTo>
                <a:cubicBezTo>
                  <a:pt x="5571448" y="735714"/>
                  <a:pt x="5593971" y="724453"/>
                  <a:pt x="5622122" y="718823"/>
                </a:cubicBezTo>
                <a:cubicBezTo>
                  <a:pt x="5629161" y="717414"/>
                  <a:pt x="5631976" y="718823"/>
                  <a:pt x="5631976" y="721638"/>
                </a:cubicBezTo>
                <a:cubicBezTo>
                  <a:pt x="5631976" y="723045"/>
                  <a:pt x="5631976" y="727269"/>
                  <a:pt x="5629161" y="728675"/>
                </a:cubicBezTo>
                <a:lnTo>
                  <a:pt x="5624939" y="730084"/>
                </a:lnTo>
                <a:cubicBezTo>
                  <a:pt x="5596786" y="742752"/>
                  <a:pt x="5553150" y="758237"/>
                  <a:pt x="5543295" y="789205"/>
                </a:cubicBezTo>
                <a:cubicBezTo>
                  <a:pt x="5540480" y="794834"/>
                  <a:pt x="5540480" y="801873"/>
                  <a:pt x="5540480" y="810319"/>
                </a:cubicBezTo>
                <a:cubicBezTo>
                  <a:pt x="5540480" y="813134"/>
                  <a:pt x="5540480" y="815949"/>
                  <a:pt x="5540480" y="820172"/>
                </a:cubicBezTo>
                <a:cubicBezTo>
                  <a:pt x="5540480" y="855362"/>
                  <a:pt x="5523588" y="876477"/>
                  <a:pt x="5513736" y="886330"/>
                </a:cubicBezTo>
                <a:cubicBezTo>
                  <a:pt x="5503881" y="896184"/>
                  <a:pt x="5494028" y="904628"/>
                  <a:pt x="5486989" y="908852"/>
                </a:cubicBezTo>
                <a:cubicBezTo>
                  <a:pt x="5484176" y="911668"/>
                  <a:pt x="5481361" y="913074"/>
                  <a:pt x="5481361" y="914483"/>
                </a:cubicBezTo>
                <a:cubicBezTo>
                  <a:pt x="5481361" y="914483"/>
                  <a:pt x="5478544" y="917298"/>
                  <a:pt x="5475730" y="921520"/>
                </a:cubicBezTo>
                <a:cubicBezTo>
                  <a:pt x="5468691" y="929966"/>
                  <a:pt x="5458838" y="942636"/>
                  <a:pt x="5448984" y="951082"/>
                </a:cubicBezTo>
                <a:cubicBezTo>
                  <a:pt x="5439131" y="960934"/>
                  <a:pt x="5426463" y="969380"/>
                  <a:pt x="5422239" y="969380"/>
                </a:cubicBezTo>
                <a:cubicBezTo>
                  <a:pt x="5420833" y="969380"/>
                  <a:pt x="5420833" y="969380"/>
                  <a:pt x="5420833" y="969380"/>
                </a:cubicBezTo>
                <a:cubicBezTo>
                  <a:pt x="5420833" y="969380"/>
                  <a:pt x="5419424" y="967974"/>
                  <a:pt x="5419424" y="967974"/>
                </a:cubicBezTo>
                <a:cubicBezTo>
                  <a:pt x="5419424" y="965158"/>
                  <a:pt x="5425055" y="958119"/>
                  <a:pt x="5433501" y="946858"/>
                </a:cubicBezTo>
                <a:cubicBezTo>
                  <a:pt x="5443353" y="935597"/>
                  <a:pt x="5447577" y="928559"/>
                  <a:pt x="5447577" y="927151"/>
                </a:cubicBezTo>
                <a:cubicBezTo>
                  <a:pt x="5446168" y="927151"/>
                  <a:pt x="5440538" y="929966"/>
                  <a:pt x="5433501" y="932781"/>
                </a:cubicBezTo>
                <a:cubicBezTo>
                  <a:pt x="5429277" y="934190"/>
                  <a:pt x="5425055" y="937005"/>
                  <a:pt x="5419424" y="939821"/>
                </a:cubicBezTo>
                <a:cubicBezTo>
                  <a:pt x="5399717" y="949673"/>
                  <a:pt x="5357489" y="963750"/>
                  <a:pt x="5351857" y="958119"/>
                </a:cubicBezTo>
                <a:cubicBezTo>
                  <a:pt x="5350450" y="956712"/>
                  <a:pt x="5350450" y="956712"/>
                  <a:pt x="5351857" y="955304"/>
                </a:cubicBezTo>
                <a:cubicBezTo>
                  <a:pt x="5351857" y="952489"/>
                  <a:pt x="5358896" y="949673"/>
                  <a:pt x="5371564" y="942636"/>
                </a:cubicBezTo>
                <a:cubicBezTo>
                  <a:pt x="5392680" y="932781"/>
                  <a:pt x="5425055" y="915891"/>
                  <a:pt x="5432092" y="893369"/>
                </a:cubicBezTo>
                <a:cubicBezTo>
                  <a:pt x="5427870" y="893369"/>
                  <a:pt x="5413794" y="893369"/>
                  <a:pt x="5395495" y="866623"/>
                </a:cubicBezTo>
                <a:cubicBezTo>
                  <a:pt x="5372973" y="832841"/>
                  <a:pt x="5360303" y="801873"/>
                  <a:pt x="5334967" y="801873"/>
                </a:cubicBezTo>
                <a:cubicBezTo>
                  <a:pt x="5305406" y="801873"/>
                  <a:pt x="5243471" y="842694"/>
                  <a:pt x="5220948" y="856770"/>
                </a:cubicBezTo>
                <a:cubicBezTo>
                  <a:pt x="5202650" y="824395"/>
                  <a:pt x="5192796" y="789205"/>
                  <a:pt x="5192796" y="749791"/>
                </a:cubicBezTo>
                <a:cubicBezTo>
                  <a:pt x="5192796" y="628735"/>
                  <a:pt x="5291331" y="530201"/>
                  <a:pt x="5412387" y="530201"/>
                </a:cubicBezTo>
                <a:close/>
                <a:moveTo>
                  <a:pt x="5413794" y="511901"/>
                </a:moveTo>
                <a:cubicBezTo>
                  <a:pt x="5281476" y="511901"/>
                  <a:pt x="5174497" y="618881"/>
                  <a:pt x="5174497" y="751198"/>
                </a:cubicBezTo>
                <a:cubicBezTo>
                  <a:pt x="5174497" y="883515"/>
                  <a:pt x="5281476" y="990494"/>
                  <a:pt x="5413794" y="990494"/>
                </a:cubicBezTo>
                <a:cubicBezTo>
                  <a:pt x="5546111" y="990494"/>
                  <a:pt x="5653090" y="883515"/>
                  <a:pt x="5653090" y="751198"/>
                </a:cubicBezTo>
                <a:cubicBezTo>
                  <a:pt x="5653090" y="618881"/>
                  <a:pt x="5546111" y="511901"/>
                  <a:pt x="5413794" y="511901"/>
                </a:cubicBezTo>
                <a:close/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7CDAAF-2AF2-4783-8DE4-27BC54426A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8AD48C63-78A6-4D64-B839-4870EFEB9C1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8A8B7D3B-8188-49AE-82D7-29D78665EB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2185" y="112940"/>
            <a:ext cx="3969544" cy="115416"/>
          </a:xfrm>
        </p:spPr>
        <p:txBody>
          <a:bodyPr wrap="square">
            <a:spAutoFit/>
          </a:bodyPr>
          <a:lstStyle>
            <a:lvl1pPr>
              <a:defRPr sz="75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800" b="0" i="1">
                <a:solidFill>
                  <a:schemeClr val="accent1"/>
                </a:solidFill>
              </a:defRPr>
            </a:lvl2pPr>
            <a:lvl3pPr>
              <a:defRPr sz="1800" b="0" i="1">
                <a:solidFill>
                  <a:schemeClr val="accent1"/>
                </a:solidFill>
              </a:defRPr>
            </a:lvl3pPr>
            <a:lvl4pPr>
              <a:defRPr sz="1800" b="0" i="1">
                <a:solidFill>
                  <a:schemeClr val="accent1"/>
                </a:solidFill>
              </a:defRPr>
            </a:lvl4pPr>
            <a:lvl5pPr>
              <a:defRPr sz="1800" b="0" i="1">
                <a:solidFill>
                  <a:schemeClr val="accent1"/>
                </a:solidFill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hapter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B3187F04-9127-44B7-AFFC-5E050F60BFE4}"/>
              </a:ext>
            </a:extLst>
          </p:cNvPr>
          <p:cNvSpPr>
            <a:spLocks noGrp="1"/>
          </p:cNvSpPr>
          <p:nvPr>
            <p:ph type="subTitle" idx="18"/>
          </p:nvPr>
        </p:nvSpPr>
        <p:spPr>
          <a:xfrm>
            <a:off x="332185" y="618295"/>
            <a:ext cx="3969544" cy="276999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800" b="0" i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225"/>
              </a:spcAft>
              <a:buNone/>
              <a:defRPr sz="1800" i="1">
                <a:solidFill>
                  <a:schemeClr val="accent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63E2BEF-1F6C-4C9E-A704-CC22820759B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332185" y="4885343"/>
            <a:ext cx="3969544" cy="115416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First name last name, dat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B164CB7-257B-4261-A92C-C6F7C3559701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3"/>
            </p:custDataLst>
          </p:nvPr>
        </p:nvSpPr>
        <p:spPr>
          <a:xfrm>
            <a:off x="6724036" y="4885343"/>
            <a:ext cx="1728839" cy="115416"/>
          </a:xfrm>
        </p:spPr>
        <p:txBody>
          <a:bodyPr/>
          <a:lstStyle>
            <a:lvl1pPr algn="r">
              <a:defRPr sz="750" b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Internal confidential  •  Copyright® 202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080733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613">
          <p15:clr>
            <a:srgbClr val="9FCC3B"/>
          </p15:clr>
        </p15:guide>
        <p15:guide id="2" orient="horz" pos="2591">
          <p15:clr>
            <a:srgbClr val="9FCC3B"/>
          </p15:clr>
        </p15:guide>
        <p15:guide id="3" orient="horz" pos="1139">
          <p15:clr>
            <a:srgbClr val="9FCC3B"/>
          </p15:clr>
        </p15:guide>
        <p15:guide id="4" orient="horz" pos="4042">
          <p15:clr>
            <a:srgbClr val="9FCC3B"/>
          </p15:clr>
        </p15:guide>
        <p15:guide id="5" pos="279">
          <p15:clr>
            <a:srgbClr val="9FCC3B"/>
          </p15:clr>
        </p15:guide>
        <p15:guide id="6" pos="3840">
          <p15:clr>
            <a:srgbClr val="9FCC3B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+Left Picture 50:5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81CF268-DB84-454F-976D-5A6548388D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944228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8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81CF268-DB84-454F-976D-5A6548388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CEF20FC3-ADE0-455E-A881-E50C1A69B2E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E740D4-1B25-4367-9B11-A14AE3B9F6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42272" y="341295"/>
            <a:ext cx="3213498" cy="276999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2BB489-86A6-4D41-BFFD-2AD8081D3C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42272" y="1369219"/>
            <a:ext cx="3969544" cy="344328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7CDAAF-2AF2-4783-8DE4-27BC54426A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8AD48C63-78A6-4D64-B839-4870EFEB9C1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platzhalter 16">
            <a:extLst>
              <a:ext uri="{FF2B5EF4-FFF2-40B4-BE49-F238E27FC236}">
                <a16:creationId xmlns:a16="http://schemas.microsoft.com/office/drawing/2014/main" id="{578603F6-7C4F-4597-A4FD-FC0CC443EB50}"/>
              </a:ext>
            </a:extLst>
          </p:cNvPr>
          <p:cNvSpPr txBox="1">
            <a:spLocks/>
          </p:cNvSpPr>
          <p:nvPr/>
        </p:nvSpPr>
        <p:spPr bwMode="gray">
          <a:xfrm>
            <a:off x="4842273" y="956104"/>
            <a:ext cx="287687" cy="216000"/>
          </a:xfrm>
          <a:prstGeom prst="rect">
            <a:avLst/>
          </a:prstGeom>
          <a:noFill/>
        </p:spPr>
        <p:txBody>
          <a:bodyPr vert="horz" lIns="0" tIns="108000" rIns="0" bIns="0" rtlCol="0" anchor="b">
            <a:no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783" rtl="0" eaLnBrk="1" latinLnBrk="0" hangingPunct="1">
              <a:lnSpc>
                <a:spcPct val="100000"/>
              </a:lnSpc>
              <a:spcBef>
                <a:spcPts val="288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—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160388A7-6F08-49E1-B0FE-A96D8EE2DC5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42272" y="112940"/>
            <a:ext cx="3213498" cy="115416"/>
          </a:xfrm>
        </p:spPr>
        <p:txBody>
          <a:bodyPr wrap="square">
            <a:spAutoFit/>
          </a:bodyPr>
          <a:lstStyle>
            <a:lvl1pPr>
              <a:defRPr sz="75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800" b="0" i="1">
                <a:solidFill>
                  <a:schemeClr val="accent1"/>
                </a:solidFill>
              </a:defRPr>
            </a:lvl2pPr>
            <a:lvl3pPr>
              <a:defRPr sz="1800" b="0" i="1">
                <a:solidFill>
                  <a:schemeClr val="accent1"/>
                </a:solidFill>
              </a:defRPr>
            </a:lvl3pPr>
            <a:lvl4pPr>
              <a:defRPr sz="1800" b="0" i="1">
                <a:solidFill>
                  <a:schemeClr val="accent1"/>
                </a:solidFill>
              </a:defRPr>
            </a:lvl4pPr>
            <a:lvl5pPr>
              <a:defRPr sz="1800" b="0" i="1">
                <a:solidFill>
                  <a:schemeClr val="accent1"/>
                </a:solidFill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hapter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96A839D6-AA8A-4562-BF5F-7F5889B4CBFB}"/>
              </a:ext>
            </a:extLst>
          </p:cNvPr>
          <p:cNvSpPr>
            <a:spLocks noGrp="1"/>
          </p:cNvSpPr>
          <p:nvPr>
            <p:ph type="subTitle" idx="18"/>
          </p:nvPr>
        </p:nvSpPr>
        <p:spPr>
          <a:xfrm>
            <a:off x="4842272" y="618295"/>
            <a:ext cx="3213498" cy="553998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800" b="0" i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225"/>
              </a:spcAft>
              <a:buNone/>
              <a:defRPr sz="1800" i="1">
                <a:solidFill>
                  <a:schemeClr val="accent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4177B7B-226E-44D4-8AA3-D3FB9CF9214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First name last name, date</a:t>
            </a:r>
          </a:p>
        </p:txBody>
      </p:sp>
    </p:spTree>
    <p:extLst>
      <p:ext uri="{BB962C8B-B14F-4D97-AF65-F5344CB8AC3E}">
        <p14:creationId xmlns:p14="http://schemas.microsoft.com/office/powerpoint/2010/main" val="367846229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4067">
          <p15:clr>
            <a:srgbClr val="9FCC3B"/>
          </p15:clr>
        </p15:guide>
        <p15:guide id="2" pos="6766">
          <p15:clr>
            <a:srgbClr val="9FCC3B"/>
          </p15:clr>
        </p15:guide>
        <p15:guide id="3" pos="7401">
          <p15:clr>
            <a:srgbClr val="9FCC3B"/>
          </p15:clr>
        </p15:guide>
        <p15:guide id="4" orient="horz" pos="1139">
          <p15:clr>
            <a:srgbClr val="9FCC3B"/>
          </p15:clr>
        </p15:guide>
        <p15:guide id="5" orient="horz" pos="2591">
          <p15:clr>
            <a:srgbClr val="9FCC3B"/>
          </p15:clr>
        </p15:guide>
        <p15:guide id="6" orient="horz" pos="4042">
          <p15:clr>
            <a:srgbClr val="9FCC3B"/>
          </p15:clr>
        </p15:guide>
        <p15:guide id="7" pos="3840">
          <p15:clr>
            <a:srgbClr val="9FCC3B"/>
          </p15:clr>
        </p15:guide>
        <p15:guide id="8" pos="279">
          <p15:clr>
            <a:srgbClr val="9FCC3B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+Right Picture 70:30 | Color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8B5D4B6-6287-4A10-BDD7-B97BDBF578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72383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2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F8B5D4B6-6287-4A10-BDD7-B97BDBF578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CE740D4-1B25-4367-9B11-A14AE3B9F6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185" y="341295"/>
            <a:ext cx="5481638" cy="276999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2BB489-86A6-4D41-BFFD-2AD8081D3C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2185" y="1369219"/>
            <a:ext cx="5481638" cy="344328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extplatzhalter 16">
            <a:extLst>
              <a:ext uri="{FF2B5EF4-FFF2-40B4-BE49-F238E27FC236}">
                <a16:creationId xmlns:a16="http://schemas.microsoft.com/office/drawing/2014/main" id="{578603F6-7C4F-4597-A4FD-FC0CC443EB50}"/>
              </a:ext>
            </a:extLst>
          </p:cNvPr>
          <p:cNvSpPr txBox="1">
            <a:spLocks/>
          </p:cNvSpPr>
          <p:nvPr/>
        </p:nvSpPr>
        <p:spPr bwMode="gray">
          <a:xfrm>
            <a:off x="332185" y="956104"/>
            <a:ext cx="280736" cy="216000"/>
          </a:xfrm>
          <a:prstGeom prst="rect">
            <a:avLst/>
          </a:prstGeom>
          <a:noFill/>
        </p:spPr>
        <p:txBody>
          <a:bodyPr vert="horz" lIns="0" tIns="108000" rIns="0" bIns="0" rtlCol="0" anchor="b">
            <a:no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783" rtl="0" eaLnBrk="1" latinLnBrk="0" hangingPunct="1">
              <a:lnSpc>
                <a:spcPct val="100000"/>
              </a:lnSpc>
              <a:spcBef>
                <a:spcPts val="288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—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7C7764F-BDF3-4740-9EFF-8A3F87D02248}"/>
              </a:ext>
            </a:extLst>
          </p:cNvPr>
          <p:cNvSpPr/>
          <p:nvPr/>
        </p:nvSpPr>
        <p:spPr>
          <a:xfrm>
            <a:off x="6125966" y="0"/>
            <a:ext cx="3018034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atin typeface="+mn-lt"/>
              <a:ea typeface="+mn-ea"/>
              <a:cs typeface="+mn-cs"/>
            </a:endParaRP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D19C654C-870F-42D3-963E-6FAF8793D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4809" y="0"/>
            <a:ext cx="3049191" cy="5143500"/>
          </a:xfrm>
          <a:custGeom>
            <a:avLst/>
            <a:gdLst>
              <a:gd name="connsiteX0" fmla="*/ 3488773 w 4065588"/>
              <a:gd name="connsiteY0" fmla="*/ 766683 h 6858000"/>
              <a:gd name="connsiteX1" fmla="*/ 3478920 w 4065588"/>
              <a:gd name="connsiteY1" fmla="*/ 776535 h 6858000"/>
              <a:gd name="connsiteX2" fmla="*/ 3488773 w 4065588"/>
              <a:gd name="connsiteY2" fmla="*/ 786388 h 6858000"/>
              <a:gd name="connsiteX3" fmla="*/ 3498627 w 4065588"/>
              <a:gd name="connsiteY3" fmla="*/ 776535 h 6858000"/>
              <a:gd name="connsiteX4" fmla="*/ 3488773 w 4065588"/>
              <a:gd name="connsiteY4" fmla="*/ 766683 h 6858000"/>
              <a:gd name="connsiteX5" fmla="*/ 3322674 w 4065588"/>
              <a:gd name="connsiteY5" fmla="*/ 692078 h 6858000"/>
              <a:gd name="connsiteX6" fmla="*/ 3324081 w 4065588"/>
              <a:gd name="connsiteY6" fmla="*/ 692078 h 6858000"/>
              <a:gd name="connsiteX7" fmla="*/ 3322674 w 4065588"/>
              <a:gd name="connsiteY7" fmla="*/ 693485 h 6858000"/>
              <a:gd name="connsiteX8" fmla="*/ 3302967 w 4065588"/>
              <a:gd name="connsiteY8" fmla="*/ 710377 h 6858000"/>
              <a:gd name="connsiteX9" fmla="*/ 3286075 w 4065588"/>
              <a:gd name="connsiteY9" fmla="*/ 714599 h 6858000"/>
              <a:gd name="connsiteX10" fmla="*/ 3271999 w 4065588"/>
              <a:gd name="connsiteY10" fmla="*/ 711785 h 6858000"/>
              <a:gd name="connsiteX11" fmla="*/ 3288891 w 4065588"/>
              <a:gd name="connsiteY11" fmla="*/ 697709 h 6858000"/>
              <a:gd name="connsiteX12" fmla="*/ 3322674 w 4065588"/>
              <a:gd name="connsiteY12" fmla="*/ 692078 h 6858000"/>
              <a:gd name="connsiteX13" fmla="*/ 3333934 w 4065588"/>
              <a:gd name="connsiteY13" fmla="*/ 609028 h 6858000"/>
              <a:gd name="connsiteX14" fmla="*/ 3346603 w 4065588"/>
              <a:gd name="connsiteY14" fmla="*/ 618881 h 6858000"/>
              <a:gd name="connsiteX15" fmla="*/ 3333934 w 4065588"/>
              <a:gd name="connsiteY15" fmla="*/ 628735 h 6858000"/>
              <a:gd name="connsiteX16" fmla="*/ 3321266 w 4065588"/>
              <a:gd name="connsiteY16" fmla="*/ 618881 h 6858000"/>
              <a:gd name="connsiteX17" fmla="*/ 3333934 w 4065588"/>
              <a:gd name="connsiteY17" fmla="*/ 609028 h 6858000"/>
              <a:gd name="connsiteX18" fmla="*/ 3380387 w 4065588"/>
              <a:gd name="connsiteY18" fmla="*/ 530201 h 6858000"/>
              <a:gd name="connsiteX19" fmla="*/ 3546486 w 4065588"/>
              <a:gd name="connsiteY19" fmla="*/ 606213 h 6858000"/>
              <a:gd name="connsiteX20" fmla="*/ 3550709 w 4065588"/>
              <a:gd name="connsiteY20" fmla="*/ 679408 h 6858000"/>
              <a:gd name="connsiteX21" fmla="*/ 3497219 w 4065588"/>
              <a:gd name="connsiteY21" fmla="*/ 676593 h 6858000"/>
              <a:gd name="connsiteX22" fmla="*/ 3501443 w 4065588"/>
              <a:gd name="connsiteY22" fmla="*/ 666741 h 6858000"/>
              <a:gd name="connsiteX23" fmla="*/ 3508480 w 4065588"/>
              <a:gd name="connsiteY23" fmla="*/ 665332 h 6858000"/>
              <a:gd name="connsiteX24" fmla="*/ 3509888 w 4065588"/>
              <a:gd name="connsiteY24" fmla="*/ 661110 h 6858000"/>
              <a:gd name="connsiteX25" fmla="*/ 3492997 w 4065588"/>
              <a:gd name="connsiteY25" fmla="*/ 655479 h 6858000"/>
              <a:gd name="connsiteX26" fmla="*/ 3471881 w 4065588"/>
              <a:gd name="connsiteY26" fmla="*/ 656888 h 6858000"/>
              <a:gd name="connsiteX27" fmla="*/ 3463435 w 4065588"/>
              <a:gd name="connsiteY27" fmla="*/ 654071 h 6858000"/>
              <a:gd name="connsiteX28" fmla="*/ 3460620 w 4065588"/>
              <a:gd name="connsiteY28" fmla="*/ 649849 h 6858000"/>
              <a:gd name="connsiteX29" fmla="*/ 3463435 w 4065588"/>
              <a:gd name="connsiteY29" fmla="*/ 641403 h 6858000"/>
              <a:gd name="connsiteX30" fmla="*/ 3471881 w 4065588"/>
              <a:gd name="connsiteY30" fmla="*/ 639996 h 6858000"/>
              <a:gd name="connsiteX31" fmla="*/ 3473290 w 4065588"/>
              <a:gd name="connsiteY31" fmla="*/ 635772 h 6858000"/>
              <a:gd name="connsiteX32" fmla="*/ 3456398 w 4065588"/>
              <a:gd name="connsiteY32" fmla="*/ 630142 h 6858000"/>
              <a:gd name="connsiteX33" fmla="*/ 3435284 w 4065588"/>
              <a:gd name="connsiteY33" fmla="*/ 631550 h 6858000"/>
              <a:gd name="connsiteX34" fmla="*/ 3426838 w 4065588"/>
              <a:gd name="connsiteY34" fmla="*/ 628735 h 6858000"/>
              <a:gd name="connsiteX35" fmla="*/ 3424023 w 4065588"/>
              <a:gd name="connsiteY35" fmla="*/ 624511 h 6858000"/>
              <a:gd name="connsiteX36" fmla="*/ 3426838 w 4065588"/>
              <a:gd name="connsiteY36" fmla="*/ 614659 h 6858000"/>
              <a:gd name="connsiteX37" fmla="*/ 3435284 w 4065588"/>
              <a:gd name="connsiteY37" fmla="*/ 613250 h 6858000"/>
              <a:gd name="connsiteX38" fmla="*/ 3436691 w 4065588"/>
              <a:gd name="connsiteY38" fmla="*/ 609028 h 6858000"/>
              <a:gd name="connsiteX39" fmla="*/ 3419799 w 4065588"/>
              <a:gd name="connsiteY39" fmla="*/ 603397 h 6858000"/>
              <a:gd name="connsiteX40" fmla="*/ 3398685 w 4065588"/>
              <a:gd name="connsiteY40" fmla="*/ 604804 h 6858000"/>
              <a:gd name="connsiteX41" fmla="*/ 3394463 w 4065588"/>
              <a:gd name="connsiteY41" fmla="*/ 603397 h 6858000"/>
              <a:gd name="connsiteX42" fmla="*/ 3393055 w 4065588"/>
              <a:gd name="connsiteY42" fmla="*/ 600582 h 6858000"/>
              <a:gd name="connsiteX43" fmla="*/ 3394463 w 4065588"/>
              <a:gd name="connsiteY43" fmla="*/ 593545 h 6858000"/>
              <a:gd name="connsiteX44" fmla="*/ 3395870 w 4065588"/>
              <a:gd name="connsiteY44" fmla="*/ 573836 h 6858000"/>
              <a:gd name="connsiteX45" fmla="*/ 3383200 w 4065588"/>
              <a:gd name="connsiteY45" fmla="*/ 551315 h 6858000"/>
              <a:gd name="connsiteX46" fmla="*/ 3378978 w 4065588"/>
              <a:gd name="connsiteY46" fmla="*/ 549907 h 6858000"/>
              <a:gd name="connsiteX47" fmla="*/ 3377571 w 4065588"/>
              <a:gd name="connsiteY47" fmla="*/ 555537 h 6858000"/>
              <a:gd name="connsiteX48" fmla="*/ 3352234 w 4065588"/>
              <a:gd name="connsiteY48" fmla="*/ 589321 h 6858000"/>
              <a:gd name="connsiteX49" fmla="*/ 3343788 w 4065588"/>
              <a:gd name="connsiteY49" fmla="*/ 589321 h 6858000"/>
              <a:gd name="connsiteX50" fmla="*/ 3338157 w 4065588"/>
              <a:gd name="connsiteY50" fmla="*/ 589321 h 6858000"/>
              <a:gd name="connsiteX51" fmla="*/ 3335342 w 4065588"/>
              <a:gd name="connsiteY51" fmla="*/ 589321 h 6858000"/>
              <a:gd name="connsiteX52" fmla="*/ 3329711 w 4065588"/>
              <a:gd name="connsiteY52" fmla="*/ 589321 h 6858000"/>
              <a:gd name="connsiteX53" fmla="*/ 3321266 w 4065588"/>
              <a:gd name="connsiteY53" fmla="*/ 590728 h 6858000"/>
              <a:gd name="connsiteX54" fmla="*/ 3301558 w 4065588"/>
              <a:gd name="connsiteY54" fmla="*/ 610435 h 6858000"/>
              <a:gd name="connsiteX55" fmla="*/ 3301558 w 4065588"/>
              <a:gd name="connsiteY55" fmla="*/ 613250 h 6858000"/>
              <a:gd name="connsiteX56" fmla="*/ 3298743 w 4065588"/>
              <a:gd name="connsiteY56" fmla="*/ 617474 h 6858000"/>
              <a:gd name="connsiteX57" fmla="*/ 3287482 w 4065588"/>
              <a:gd name="connsiteY57" fmla="*/ 618881 h 6858000"/>
              <a:gd name="connsiteX58" fmla="*/ 3245254 w 4065588"/>
              <a:gd name="connsiteY58" fmla="*/ 607619 h 6858000"/>
              <a:gd name="connsiteX59" fmla="*/ 3242439 w 4065588"/>
              <a:gd name="connsiteY59" fmla="*/ 606213 h 6858000"/>
              <a:gd name="connsiteX60" fmla="*/ 3241031 w 4065588"/>
              <a:gd name="connsiteY60" fmla="*/ 607619 h 6858000"/>
              <a:gd name="connsiteX61" fmla="*/ 3229769 w 4065588"/>
              <a:gd name="connsiteY61" fmla="*/ 637181 h 6858000"/>
              <a:gd name="connsiteX62" fmla="*/ 3249476 w 4065588"/>
              <a:gd name="connsiteY62" fmla="*/ 673778 h 6858000"/>
              <a:gd name="connsiteX63" fmla="*/ 3256514 w 4065588"/>
              <a:gd name="connsiteY63" fmla="*/ 678002 h 6858000"/>
              <a:gd name="connsiteX64" fmla="*/ 3256514 w 4065588"/>
              <a:gd name="connsiteY64" fmla="*/ 675186 h 6858000"/>
              <a:gd name="connsiteX65" fmla="*/ 3259331 w 4065588"/>
              <a:gd name="connsiteY65" fmla="*/ 665332 h 6858000"/>
              <a:gd name="connsiteX66" fmla="*/ 3277629 w 4065588"/>
              <a:gd name="connsiteY66" fmla="*/ 661110 h 6858000"/>
              <a:gd name="connsiteX67" fmla="*/ 3279036 w 4065588"/>
              <a:gd name="connsiteY67" fmla="*/ 662517 h 6858000"/>
              <a:gd name="connsiteX68" fmla="*/ 3291706 w 4065588"/>
              <a:gd name="connsiteY68" fmla="*/ 666741 h 6858000"/>
              <a:gd name="connsiteX69" fmla="*/ 3304374 w 4065588"/>
              <a:gd name="connsiteY69" fmla="*/ 662517 h 6858000"/>
              <a:gd name="connsiteX70" fmla="*/ 3322674 w 4065588"/>
              <a:gd name="connsiteY70" fmla="*/ 662517 h 6858000"/>
              <a:gd name="connsiteX71" fmla="*/ 3325489 w 4065588"/>
              <a:gd name="connsiteY71" fmla="*/ 678002 h 6858000"/>
              <a:gd name="connsiteX72" fmla="*/ 3325489 w 4065588"/>
              <a:gd name="connsiteY72" fmla="*/ 679408 h 6858000"/>
              <a:gd name="connsiteX73" fmla="*/ 3324081 w 4065588"/>
              <a:gd name="connsiteY73" fmla="*/ 679408 h 6858000"/>
              <a:gd name="connsiteX74" fmla="*/ 3290297 w 4065588"/>
              <a:gd name="connsiteY74" fmla="*/ 676593 h 6858000"/>
              <a:gd name="connsiteX75" fmla="*/ 3270590 w 4065588"/>
              <a:gd name="connsiteY75" fmla="*/ 685039 h 6858000"/>
              <a:gd name="connsiteX76" fmla="*/ 3236808 w 4065588"/>
              <a:gd name="connsiteY76" fmla="*/ 692078 h 6858000"/>
              <a:gd name="connsiteX77" fmla="*/ 3215693 w 4065588"/>
              <a:gd name="connsiteY77" fmla="*/ 672371 h 6858000"/>
              <a:gd name="connsiteX78" fmla="*/ 3214286 w 4065588"/>
              <a:gd name="connsiteY78" fmla="*/ 669556 h 6858000"/>
              <a:gd name="connsiteX79" fmla="*/ 3212878 w 4065588"/>
              <a:gd name="connsiteY79" fmla="*/ 673778 h 6858000"/>
              <a:gd name="connsiteX80" fmla="*/ 3221323 w 4065588"/>
              <a:gd name="connsiteY80" fmla="*/ 707561 h 6858000"/>
              <a:gd name="connsiteX81" fmla="*/ 3262146 w 4065588"/>
              <a:gd name="connsiteY81" fmla="*/ 713192 h 6858000"/>
              <a:gd name="connsiteX82" fmla="*/ 3263553 w 4065588"/>
              <a:gd name="connsiteY82" fmla="*/ 711785 h 6858000"/>
              <a:gd name="connsiteX83" fmla="*/ 3263553 w 4065588"/>
              <a:gd name="connsiteY83" fmla="*/ 713192 h 6858000"/>
              <a:gd name="connsiteX84" fmla="*/ 3267775 w 4065588"/>
              <a:gd name="connsiteY84" fmla="*/ 727269 h 6858000"/>
              <a:gd name="connsiteX85" fmla="*/ 3286075 w 4065588"/>
              <a:gd name="connsiteY85" fmla="*/ 739936 h 6858000"/>
              <a:gd name="connsiteX86" fmla="*/ 3308598 w 4065588"/>
              <a:gd name="connsiteY86" fmla="*/ 730084 h 6858000"/>
              <a:gd name="connsiteX87" fmla="*/ 3356456 w 4065588"/>
              <a:gd name="connsiteY87" fmla="*/ 713192 h 6858000"/>
              <a:gd name="connsiteX88" fmla="*/ 3424023 w 4065588"/>
              <a:gd name="connsiteY88" fmla="*/ 786388 h 6858000"/>
              <a:gd name="connsiteX89" fmla="*/ 3429654 w 4065588"/>
              <a:gd name="connsiteY89" fmla="*/ 796242 h 6858000"/>
              <a:gd name="connsiteX90" fmla="*/ 3429654 w 4065588"/>
              <a:gd name="connsiteY90" fmla="*/ 797649 h 6858000"/>
              <a:gd name="connsiteX91" fmla="*/ 3435284 w 4065588"/>
              <a:gd name="connsiteY91" fmla="*/ 801873 h 6858000"/>
              <a:gd name="connsiteX92" fmla="*/ 3438099 w 4065588"/>
              <a:gd name="connsiteY92" fmla="*/ 797649 h 6858000"/>
              <a:gd name="connsiteX93" fmla="*/ 3467659 w 4065588"/>
              <a:gd name="connsiteY93" fmla="*/ 758237 h 6858000"/>
              <a:gd name="connsiteX94" fmla="*/ 3494404 w 4065588"/>
              <a:gd name="connsiteY94" fmla="*/ 754013 h 6858000"/>
              <a:gd name="connsiteX95" fmla="*/ 3497219 w 4065588"/>
              <a:gd name="connsiteY95" fmla="*/ 754013 h 6858000"/>
              <a:gd name="connsiteX96" fmla="*/ 3522556 w 4065588"/>
              <a:gd name="connsiteY96" fmla="*/ 744160 h 6858000"/>
              <a:gd name="connsiteX97" fmla="*/ 3590122 w 4065588"/>
              <a:gd name="connsiteY97" fmla="*/ 718823 h 6858000"/>
              <a:gd name="connsiteX98" fmla="*/ 3599976 w 4065588"/>
              <a:gd name="connsiteY98" fmla="*/ 721638 h 6858000"/>
              <a:gd name="connsiteX99" fmla="*/ 3597161 w 4065588"/>
              <a:gd name="connsiteY99" fmla="*/ 728675 h 6858000"/>
              <a:gd name="connsiteX100" fmla="*/ 3592939 w 4065588"/>
              <a:gd name="connsiteY100" fmla="*/ 730084 h 6858000"/>
              <a:gd name="connsiteX101" fmla="*/ 3511295 w 4065588"/>
              <a:gd name="connsiteY101" fmla="*/ 789205 h 6858000"/>
              <a:gd name="connsiteX102" fmla="*/ 3508480 w 4065588"/>
              <a:gd name="connsiteY102" fmla="*/ 810319 h 6858000"/>
              <a:gd name="connsiteX103" fmla="*/ 3508480 w 4065588"/>
              <a:gd name="connsiteY103" fmla="*/ 820172 h 6858000"/>
              <a:gd name="connsiteX104" fmla="*/ 3481736 w 4065588"/>
              <a:gd name="connsiteY104" fmla="*/ 886330 h 6858000"/>
              <a:gd name="connsiteX105" fmla="*/ 3454989 w 4065588"/>
              <a:gd name="connsiteY105" fmla="*/ 908852 h 6858000"/>
              <a:gd name="connsiteX106" fmla="*/ 3449361 w 4065588"/>
              <a:gd name="connsiteY106" fmla="*/ 914483 h 6858000"/>
              <a:gd name="connsiteX107" fmla="*/ 3443730 w 4065588"/>
              <a:gd name="connsiteY107" fmla="*/ 921520 h 6858000"/>
              <a:gd name="connsiteX108" fmla="*/ 3416984 w 4065588"/>
              <a:gd name="connsiteY108" fmla="*/ 951082 h 6858000"/>
              <a:gd name="connsiteX109" fmla="*/ 3390239 w 4065588"/>
              <a:gd name="connsiteY109" fmla="*/ 969380 h 6858000"/>
              <a:gd name="connsiteX110" fmla="*/ 3388833 w 4065588"/>
              <a:gd name="connsiteY110" fmla="*/ 969380 h 6858000"/>
              <a:gd name="connsiteX111" fmla="*/ 3387424 w 4065588"/>
              <a:gd name="connsiteY111" fmla="*/ 967974 h 6858000"/>
              <a:gd name="connsiteX112" fmla="*/ 3401501 w 4065588"/>
              <a:gd name="connsiteY112" fmla="*/ 946858 h 6858000"/>
              <a:gd name="connsiteX113" fmla="*/ 3415577 w 4065588"/>
              <a:gd name="connsiteY113" fmla="*/ 927151 h 6858000"/>
              <a:gd name="connsiteX114" fmla="*/ 3401501 w 4065588"/>
              <a:gd name="connsiteY114" fmla="*/ 932781 h 6858000"/>
              <a:gd name="connsiteX115" fmla="*/ 3387424 w 4065588"/>
              <a:gd name="connsiteY115" fmla="*/ 939821 h 6858000"/>
              <a:gd name="connsiteX116" fmla="*/ 3319857 w 4065588"/>
              <a:gd name="connsiteY116" fmla="*/ 958119 h 6858000"/>
              <a:gd name="connsiteX117" fmla="*/ 3319857 w 4065588"/>
              <a:gd name="connsiteY117" fmla="*/ 955304 h 6858000"/>
              <a:gd name="connsiteX118" fmla="*/ 3339564 w 4065588"/>
              <a:gd name="connsiteY118" fmla="*/ 942636 h 6858000"/>
              <a:gd name="connsiteX119" fmla="*/ 3400092 w 4065588"/>
              <a:gd name="connsiteY119" fmla="*/ 893369 h 6858000"/>
              <a:gd name="connsiteX120" fmla="*/ 3363495 w 4065588"/>
              <a:gd name="connsiteY120" fmla="*/ 866623 h 6858000"/>
              <a:gd name="connsiteX121" fmla="*/ 3302967 w 4065588"/>
              <a:gd name="connsiteY121" fmla="*/ 801873 h 6858000"/>
              <a:gd name="connsiteX122" fmla="*/ 3188948 w 4065588"/>
              <a:gd name="connsiteY122" fmla="*/ 856770 h 6858000"/>
              <a:gd name="connsiteX123" fmla="*/ 3160796 w 4065588"/>
              <a:gd name="connsiteY123" fmla="*/ 749791 h 6858000"/>
              <a:gd name="connsiteX124" fmla="*/ 3380387 w 4065588"/>
              <a:gd name="connsiteY124" fmla="*/ 530201 h 6858000"/>
              <a:gd name="connsiteX125" fmla="*/ 3381794 w 4065588"/>
              <a:gd name="connsiteY125" fmla="*/ 511901 h 6858000"/>
              <a:gd name="connsiteX126" fmla="*/ 3142497 w 4065588"/>
              <a:gd name="connsiteY126" fmla="*/ 751198 h 6858000"/>
              <a:gd name="connsiteX127" fmla="*/ 3381794 w 4065588"/>
              <a:gd name="connsiteY127" fmla="*/ 990494 h 6858000"/>
              <a:gd name="connsiteX128" fmla="*/ 3621090 w 4065588"/>
              <a:gd name="connsiteY128" fmla="*/ 751198 h 6858000"/>
              <a:gd name="connsiteX129" fmla="*/ 3381794 w 4065588"/>
              <a:gd name="connsiteY129" fmla="*/ 511901 h 6858000"/>
              <a:gd name="connsiteX130" fmla="*/ 0 w 4065588"/>
              <a:gd name="connsiteY130" fmla="*/ 0 h 6858000"/>
              <a:gd name="connsiteX131" fmla="*/ 4065588 w 4065588"/>
              <a:gd name="connsiteY131" fmla="*/ 0 h 6858000"/>
              <a:gd name="connsiteX132" fmla="*/ 4065588 w 4065588"/>
              <a:gd name="connsiteY132" fmla="*/ 6858000 h 6858000"/>
              <a:gd name="connsiteX133" fmla="*/ 0 w 4065588"/>
              <a:gd name="connsiteY1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</a:cxnLst>
            <a:rect l="l" t="t" r="r" b="b"/>
            <a:pathLst>
              <a:path w="4065588" h="6858000">
                <a:moveTo>
                  <a:pt x="3488773" y="766683"/>
                </a:moveTo>
                <a:cubicBezTo>
                  <a:pt x="3483142" y="766683"/>
                  <a:pt x="3478920" y="770905"/>
                  <a:pt x="3478920" y="776535"/>
                </a:cubicBezTo>
                <a:cubicBezTo>
                  <a:pt x="3478920" y="782166"/>
                  <a:pt x="3483142" y="786388"/>
                  <a:pt x="3488773" y="786388"/>
                </a:cubicBezTo>
                <a:cubicBezTo>
                  <a:pt x="3494404" y="784981"/>
                  <a:pt x="3498627" y="780759"/>
                  <a:pt x="3498627" y="776535"/>
                </a:cubicBezTo>
                <a:cubicBezTo>
                  <a:pt x="3498627" y="770905"/>
                  <a:pt x="3494404" y="766683"/>
                  <a:pt x="3488773" y="766683"/>
                </a:cubicBezTo>
                <a:close/>
                <a:moveTo>
                  <a:pt x="3322674" y="692078"/>
                </a:moveTo>
                <a:lnTo>
                  <a:pt x="3324081" y="692078"/>
                </a:lnTo>
                <a:cubicBezTo>
                  <a:pt x="3324081" y="692078"/>
                  <a:pt x="3324081" y="693485"/>
                  <a:pt x="3322674" y="693485"/>
                </a:cubicBezTo>
                <a:cubicBezTo>
                  <a:pt x="3319857" y="699116"/>
                  <a:pt x="3314228" y="706155"/>
                  <a:pt x="3302967" y="710377"/>
                </a:cubicBezTo>
                <a:cubicBezTo>
                  <a:pt x="3295928" y="713192"/>
                  <a:pt x="3291706" y="714599"/>
                  <a:pt x="3286075" y="714599"/>
                </a:cubicBezTo>
                <a:cubicBezTo>
                  <a:pt x="3279036" y="714599"/>
                  <a:pt x="3273406" y="713192"/>
                  <a:pt x="3271999" y="711785"/>
                </a:cubicBezTo>
                <a:cubicBezTo>
                  <a:pt x="3271999" y="711785"/>
                  <a:pt x="3279036" y="704746"/>
                  <a:pt x="3288891" y="697709"/>
                </a:cubicBezTo>
                <a:cubicBezTo>
                  <a:pt x="3302967" y="689263"/>
                  <a:pt x="3312820" y="687854"/>
                  <a:pt x="3322674" y="692078"/>
                </a:cubicBezTo>
                <a:close/>
                <a:moveTo>
                  <a:pt x="3333934" y="609028"/>
                </a:moveTo>
                <a:cubicBezTo>
                  <a:pt x="3340973" y="609028"/>
                  <a:pt x="3346603" y="613250"/>
                  <a:pt x="3346603" y="618881"/>
                </a:cubicBezTo>
                <a:cubicBezTo>
                  <a:pt x="3346603" y="624511"/>
                  <a:pt x="3340973" y="628735"/>
                  <a:pt x="3333934" y="628735"/>
                </a:cubicBezTo>
                <a:cubicBezTo>
                  <a:pt x="3326896" y="628735"/>
                  <a:pt x="3321266" y="624511"/>
                  <a:pt x="3321266" y="618881"/>
                </a:cubicBezTo>
                <a:cubicBezTo>
                  <a:pt x="3321266" y="613250"/>
                  <a:pt x="3326896" y="609028"/>
                  <a:pt x="3333934" y="609028"/>
                </a:cubicBezTo>
                <a:close/>
                <a:moveTo>
                  <a:pt x="3380387" y="530201"/>
                </a:moveTo>
                <a:cubicBezTo>
                  <a:pt x="3446544" y="530201"/>
                  <a:pt x="3505665" y="559761"/>
                  <a:pt x="3546486" y="606213"/>
                </a:cubicBezTo>
                <a:cubicBezTo>
                  <a:pt x="3571823" y="638588"/>
                  <a:pt x="3567601" y="665332"/>
                  <a:pt x="3550709" y="679408"/>
                </a:cubicBezTo>
                <a:cubicBezTo>
                  <a:pt x="3529596" y="694893"/>
                  <a:pt x="3501443" y="689263"/>
                  <a:pt x="3497219" y="676593"/>
                </a:cubicBezTo>
                <a:cubicBezTo>
                  <a:pt x="3495812" y="669556"/>
                  <a:pt x="3501443" y="666741"/>
                  <a:pt x="3501443" y="666741"/>
                </a:cubicBezTo>
                <a:cubicBezTo>
                  <a:pt x="3502849" y="665332"/>
                  <a:pt x="3505665" y="665332"/>
                  <a:pt x="3508480" y="665332"/>
                </a:cubicBezTo>
                <a:cubicBezTo>
                  <a:pt x="3512704" y="665332"/>
                  <a:pt x="3512704" y="662517"/>
                  <a:pt x="3509888" y="661110"/>
                </a:cubicBezTo>
                <a:cubicBezTo>
                  <a:pt x="3505665" y="658295"/>
                  <a:pt x="3498627" y="655479"/>
                  <a:pt x="3492997" y="655479"/>
                </a:cubicBezTo>
                <a:cubicBezTo>
                  <a:pt x="3484551" y="655479"/>
                  <a:pt x="3471881" y="656888"/>
                  <a:pt x="3471881" y="656888"/>
                </a:cubicBezTo>
                <a:cubicBezTo>
                  <a:pt x="3469066" y="656888"/>
                  <a:pt x="3466252" y="655479"/>
                  <a:pt x="3463435" y="654071"/>
                </a:cubicBezTo>
                <a:cubicBezTo>
                  <a:pt x="3462028" y="652664"/>
                  <a:pt x="3460620" y="651256"/>
                  <a:pt x="3460620" y="649849"/>
                </a:cubicBezTo>
                <a:cubicBezTo>
                  <a:pt x="3459213" y="642811"/>
                  <a:pt x="3463435" y="641403"/>
                  <a:pt x="3463435" y="641403"/>
                </a:cubicBezTo>
                <a:cubicBezTo>
                  <a:pt x="3464844" y="639996"/>
                  <a:pt x="3469066" y="638588"/>
                  <a:pt x="3471881" y="639996"/>
                </a:cubicBezTo>
                <a:cubicBezTo>
                  <a:pt x="3476105" y="639996"/>
                  <a:pt x="3476105" y="637181"/>
                  <a:pt x="3473290" y="635772"/>
                </a:cubicBezTo>
                <a:cubicBezTo>
                  <a:pt x="3469066" y="632957"/>
                  <a:pt x="3462028" y="630142"/>
                  <a:pt x="3456398" y="630142"/>
                </a:cubicBezTo>
                <a:cubicBezTo>
                  <a:pt x="3447952" y="630142"/>
                  <a:pt x="3435284" y="631550"/>
                  <a:pt x="3435284" y="631550"/>
                </a:cubicBezTo>
                <a:cubicBezTo>
                  <a:pt x="3432469" y="631550"/>
                  <a:pt x="3429654" y="630142"/>
                  <a:pt x="3426838" y="628735"/>
                </a:cubicBezTo>
                <a:cubicBezTo>
                  <a:pt x="3425430" y="627326"/>
                  <a:pt x="3424023" y="625920"/>
                  <a:pt x="3424023" y="624511"/>
                </a:cubicBezTo>
                <a:cubicBezTo>
                  <a:pt x="3422614" y="617474"/>
                  <a:pt x="3426838" y="614659"/>
                  <a:pt x="3426838" y="614659"/>
                </a:cubicBezTo>
                <a:cubicBezTo>
                  <a:pt x="3428245" y="613250"/>
                  <a:pt x="3431060" y="611843"/>
                  <a:pt x="3435284" y="613250"/>
                </a:cubicBezTo>
                <a:cubicBezTo>
                  <a:pt x="3439506" y="613250"/>
                  <a:pt x="3439506" y="610435"/>
                  <a:pt x="3436691" y="609028"/>
                </a:cubicBezTo>
                <a:cubicBezTo>
                  <a:pt x="3432469" y="606213"/>
                  <a:pt x="3425430" y="603397"/>
                  <a:pt x="3419799" y="603397"/>
                </a:cubicBezTo>
                <a:cubicBezTo>
                  <a:pt x="3411353" y="603397"/>
                  <a:pt x="3398685" y="604804"/>
                  <a:pt x="3398685" y="604804"/>
                </a:cubicBezTo>
                <a:cubicBezTo>
                  <a:pt x="3397277" y="604804"/>
                  <a:pt x="3394463" y="604804"/>
                  <a:pt x="3394463" y="603397"/>
                </a:cubicBezTo>
                <a:cubicBezTo>
                  <a:pt x="3393055" y="601989"/>
                  <a:pt x="3393055" y="601989"/>
                  <a:pt x="3393055" y="600582"/>
                </a:cubicBezTo>
                <a:cubicBezTo>
                  <a:pt x="3393055" y="599174"/>
                  <a:pt x="3393055" y="596358"/>
                  <a:pt x="3394463" y="593545"/>
                </a:cubicBezTo>
                <a:cubicBezTo>
                  <a:pt x="3395870" y="587912"/>
                  <a:pt x="3397277" y="582282"/>
                  <a:pt x="3395870" y="573836"/>
                </a:cubicBezTo>
                <a:cubicBezTo>
                  <a:pt x="3394463" y="558353"/>
                  <a:pt x="3386017" y="552722"/>
                  <a:pt x="3383200" y="551315"/>
                </a:cubicBezTo>
                <a:cubicBezTo>
                  <a:pt x="3380387" y="549907"/>
                  <a:pt x="3378978" y="549907"/>
                  <a:pt x="3378978" y="549907"/>
                </a:cubicBezTo>
                <a:cubicBezTo>
                  <a:pt x="3378978" y="549907"/>
                  <a:pt x="3377571" y="552722"/>
                  <a:pt x="3377571" y="555537"/>
                </a:cubicBezTo>
                <a:cubicBezTo>
                  <a:pt x="3376163" y="566799"/>
                  <a:pt x="3374756" y="589321"/>
                  <a:pt x="3352234" y="589321"/>
                </a:cubicBezTo>
                <a:cubicBezTo>
                  <a:pt x="3349418" y="589321"/>
                  <a:pt x="3346603" y="589321"/>
                  <a:pt x="3343788" y="589321"/>
                </a:cubicBezTo>
                <a:cubicBezTo>
                  <a:pt x="3342379" y="589321"/>
                  <a:pt x="3339564" y="589321"/>
                  <a:pt x="3338157" y="589321"/>
                </a:cubicBezTo>
                <a:cubicBezTo>
                  <a:pt x="3336749" y="589321"/>
                  <a:pt x="3336749" y="589321"/>
                  <a:pt x="3335342" y="589321"/>
                </a:cubicBezTo>
                <a:cubicBezTo>
                  <a:pt x="3333934" y="589321"/>
                  <a:pt x="3331120" y="589321"/>
                  <a:pt x="3329711" y="589321"/>
                </a:cubicBezTo>
                <a:cubicBezTo>
                  <a:pt x="3326896" y="589321"/>
                  <a:pt x="3324081" y="589321"/>
                  <a:pt x="3321266" y="590728"/>
                </a:cubicBezTo>
                <a:cubicBezTo>
                  <a:pt x="3310004" y="593545"/>
                  <a:pt x="3302967" y="600582"/>
                  <a:pt x="3301558" y="610435"/>
                </a:cubicBezTo>
                <a:cubicBezTo>
                  <a:pt x="3301558" y="611843"/>
                  <a:pt x="3301558" y="611843"/>
                  <a:pt x="3301558" y="613250"/>
                </a:cubicBezTo>
                <a:cubicBezTo>
                  <a:pt x="3301558" y="614659"/>
                  <a:pt x="3301558" y="617474"/>
                  <a:pt x="3298743" y="617474"/>
                </a:cubicBezTo>
                <a:cubicBezTo>
                  <a:pt x="3298743" y="617474"/>
                  <a:pt x="3294521" y="618881"/>
                  <a:pt x="3287482" y="618881"/>
                </a:cubicBezTo>
                <a:cubicBezTo>
                  <a:pt x="3262146" y="621696"/>
                  <a:pt x="3252292" y="611843"/>
                  <a:pt x="3245254" y="607619"/>
                </a:cubicBezTo>
                <a:cubicBezTo>
                  <a:pt x="3243846" y="607619"/>
                  <a:pt x="3242439" y="606213"/>
                  <a:pt x="3242439" y="606213"/>
                </a:cubicBezTo>
                <a:cubicBezTo>
                  <a:pt x="3242439" y="606213"/>
                  <a:pt x="3242439" y="606213"/>
                  <a:pt x="3241031" y="607619"/>
                </a:cubicBezTo>
                <a:cubicBezTo>
                  <a:pt x="3236808" y="611843"/>
                  <a:pt x="3229769" y="624511"/>
                  <a:pt x="3229769" y="637181"/>
                </a:cubicBezTo>
                <a:cubicBezTo>
                  <a:pt x="3231178" y="658295"/>
                  <a:pt x="3245254" y="670963"/>
                  <a:pt x="3249476" y="673778"/>
                </a:cubicBezTo>
                <a:cubicBezTo>
                  <a:pt x="3253700" y="676593"/>
                  <a:pt x="3256514" y="678002"/>
                  <a:pt x="3256514" y="678002"/>
                </a:cubicBezTo>
                <a:cubicBezTo>
                  <a:pt x="3256514" y="678002"/>
                  <a:pt x="3256514" y="676593"/>
                  <a:pt x="3256514" y="675186"/>
                </a:cubicBezTo>
                <a:cubicBezTo>
                  <a:pt x="3256514" y="672371"/>
                  <a:pt x="3256514" y="669556"/>
                  <a:pt x="3259331" y="665332"/>
                </a:cubicBezTo>
                <a:cubicBezTo>
                  <a:pt x="3264960" y="655479"/>
                  <a:pt x="3273406" y="659701"/>
                  <a:pt x="3277629" y="661110"/>
                </a:cubicBezTo>
                <a:cubicBezTo>
                  <a:pt x="3279036" y="661110"/>
                  <a:pt x="3279036" y="661110"/>
                  <a:pt x="3279036" y="662517"/>
                </a:cubicBezTo>
                <a:cubicBezTo>
                  <a:pt x="3283260" y="663925"/>
                  <a:pt x="3287482" y="666741"/>
                  <a:pt x="3291706" y="666741"/>
                </a:cubicBezTo>
                <a:cubicBezTo>
                  <a:pt x="3295928" y="666741"/>
                  <a:pt x="3301558" y="663925"/>
                  <a:pt x="3304374" y="662517"/>
                </a:cubicBezTo>
                <a:cubicBezTo>
                  <a:pt x="3311413" y="659701"/>
                  <a:pt x="3318450" y="658295"/>
                  <a:pt x="3322674" y="662517"/>
                </a:cubicBezTo>
                <a:cubicBezTo>
                  <a:pt x="3326896" y="666741"/>
                  <a:pt x="3325489" y="676593"/>
                  <a:pt x="3325489" y="678002"/>
                </a:cubicBezTo>
                <a:lnTo>
                  <a:pt x="3325489" y="679408"/>
                </a:lnTo>
                <a:lnTo>
                  <a:pt x="3324081" y="679408"/>
                </a:lnTo>
                <a:cubicBezTo>
                  <a:pt x="3308598" y="673778"/>
                  <a:pt x="3302967" y="675186"/>
                  <a:pt x="3290297" y="676593"/>
                </a:cubicBezTo>
                <a:cubicBezTo>
                  <a:pt x="3283260" y="678002"/>
                  <a:pt x="3276221" y="682224"/>
                  <a:pt x="3270590" y="685039"/>
                </a:cubicBezTo>
                <a:cubicBezTo>
                  <a:pt x="3257922" y="692078"/>
                  <a:pt x="3252292" y="697709"/>
                  <a:pt x="3236808" y="692078"/>
                </a:cubicBezTo>
                <a:cubicBezTo>
                  <a:pt x="3222732" y="686448"/>
                  <a:pt x="3218508" y="678002"/>
                  <a:pt x="3215693" y="672371"/>
                </a:cubicBezTo>
                <a:cubicBezTo>
                  <a:pt x="3214286" y="670963"/>
                  <a:pt x="3214286" y="669556"/>
                  <a:pt x="3214286" y="669556"/>
                </a:cubicBezTo>
                <a:cubicBezTo>
                  <a:pt x="3214286" y="669556"/>
                  <a:pt x="3212878" y="670963"/>
                  <a:pt x="3212878" y="673778"/>
                </a:cubicBezTo>
                <a:cubicBezTo>
                  <a:pt x="3210062" y="680817"/>
                  <a:pt x="3210062" y="694893"/>
                  <a:pt x="3221323" y="707561"/>
                </a:cubicBezTo>
                <a:cubicBezTo>
                  <a:pt x="3236808" y="725860"/>
                  <a:pt x="3252292" y="718823"/>
                  <a:pt x="3262146" y="713192"/>
                </a:cubicBezTo>
                <a:lnTo>
                  <a:pt x="3263553" y="711785"/>
                </a:lnTo>
                <a:lnTo>
                  <a:pt x="3263553" y="713192"/>
                </a:lnTo>
                <a:cubicBezTo>
                  <a:pt x="3263553" y="716007"/>
                  <a:pt x="3264960" y="721638"/>
                  <a:pt x="3267775" y="727269"/>
                </a:cubicBezTo>
                <a:cubicBezTo>
                  <a:pt x="3270590" y="732899"/>
                  <a:pt x="3277629" y="739936"/>
                  <a:pt x="3286075" y="739936"/>
                </a:cubicBezTo>
                <a:cubicBezTo>
                  <a:pt x="3291706" y="739936"/>
                  <a:pt x="3300152" y="735714"/>
                  <a:pt x="3308598" y="730084"/>
                </a:cubicBezTo>
                <a:cubicBezTo>
                  <a:pt x="3324081" y="721638"/>
                  <a:pt x="3336749" y="710377"/>
                  <a:pt x="3356456" y="713192"/>
                </a:cubicBezTo>
                <a:cubicBezTo>
                  <a:pt x="3387424" y="718823"/>
                  <a:pt x="3412762" y="765274"/>
                  <a:pt x="3424023" y="786388"/>
                </a:cubicBezTo>
                <a:cubicBezTo>
                  <a:pt x="3426838" y="790612"/>
                  <a:pt x="3428245" y="794834"/>
                  <a:pt x="3429654" y="796242"/>
                </a:cubicBezTo>
                <a:cubicBezTo>
                  <a:pt x="3429654" y="796242"/>
                  <a:pt x="3429654" y="796242"/>
                  <a:pt x="3429654" y="797649"/>
                </a:cubicBezTo>
                <a:cubicBezTo>
                  <a:pt x="3431060" y="799058"/>
                  <a:pt x="3433876" y="803280"/>
                  <a:pt x="3435284" y="801873"/>
                </a:cubicBezTo>
                <a:cubicBezTo>
                  <a:pt x="3438099" y="800464"/>
                  <a:pt x="3438099" y="797649"/>
                  <a:pt x="3438099" y="797649"/>
                </a:cubicBezTo>
                <a:cubicBezTo>
                  <a:pt x="3440915" y="772313"/>
                  <a:pt x="3457806" y="762459"/>
                  <a:pt x="3467659" y="758237"/>
                </a:cubicBezTo>
                <a:cubicBezTo>
                  <a:pt x="3477512" y="754013"/>
                  <a:pt x="3487366" y="754013"/>
                  <a:pt x="3494404" y="754013"/>
                </a:cubicBezTo>
                <a:cubicBezTo>
                  <a:pt x="3495812" y="754013"/>
                  <a:pt x="3495812" y="754013"/>
                  <a:pt x="3497219" y="754013"/>
                </a:cubicBezTo>
                <a:cubicBezTo>
                  <a:pt x="3502849" y="754013"/>
                  <a:pt x="3511295" y="749791"/>
                  <a:pt x="3522556" y="744160"/>
                </a:cubicBezTo>
                <a:cubicBezTo>
                  <a:pt x="3539448" y="735714"/>
                  <a:pt x="3561971" y="724453"/>
                  <a:pt x="3590122" y="718823"/>
                </a:cubicBezTo>
                <a:cubicBezTo>
                  <a:pt x="3597161" y="717414"/>
                  <a:pt x="3599976" y="718823"/>
                  <a:pt x="3599976" y="721638"/>
                </a:cubicBezTo>
                <a:cubicBezTo>
                  <a:pt x="3599976" y="723045"/>
                  <a:pt x="3599976" y="727269"/>
                  <a:pt x="3597161" y="728675"/>
                </a:cubicBezTo>
                <a:lnTo>
                  <a:pt x="3592939" y="730084"/>
                </a:lnTo>
                <a:cubicBezTo>
                  <a:pt x="3564786" y="742752"/>
                  <a:pt x="3521150" y="758237"/>
                  <a:pt x="3511295" y="789205"/>
                </a:cubicBezTo>
                <a:cubicBezTo>
                  <a:pt x="3508480" y="794834"/>
                  <a:pt x="3508480" y="801873"/>
                  <a:pt x="3508480" y="810319"/>
                </a:cubicBezTo>
                <a:cubicBezTo>
                  <a:pt x="3508480" y="813134"/>
                  <a:pt x="3508480" y="815949"/>
                  <a:pt x="3508480" y="820172"/>
                </a:cubicBezTo>
                <a:cubicBezTo>
                  <a:pt x="3508480" y="855362"/>
                  <a:pt x="3491588" y="876477"/>
                  <a:pt x="3481736" y="886330"/>
                </a:cubicBezTo>
                <a:cubicBezTo>
                  <a:pt x="3471881" y="896184"/>
                  <a:pt x="3462028" y="904628"/>
                  <a:pt x="3454989" y="908852"/>
                </a:cubicBezTo>
                <a:cubicBezTo>
                  <a:pt x="3452176" y="911668"/>
                  <a:pt x="3449361" y="913074"/>
                  <a:pt x="3449361" y="914483"/>
                </a:cubicBezTo>
                <a:cubicBezTo>
                  <a:pt x="3449361" y="914483"/>
                  <a:pt x="3446544" y="917298"/>
                  <a:pt x="3443730" y="921520"/>
                </a:cubicBezTo>
                <a:cubicBezTo>
                  <a:pt x="3436691" y="929966"/>
                  <a:pt x="3426838" y="942636"/>
                  <a:pt x="3416984" y="951082"/>
                </a:cubicBezTo>
                <a:cubicBezTo>
                  <a:pt x="3407131" y="960934"/>
                  <a:pt x="3394463" y="969380"/>
                  <a:pt x="3390239" y="969380"/>
                </a:cubicBezTo>
                <a:cubicBezTo>
                  <a:pt x="3388833" y="969380"/>
                  <a:pt x="3388833" y="969380"/>
                  <a:pt x="3388833" y="969380"/>
                </a:cubicBezTo>
                <a:cubicBezTo>
                  <a:pt x="3388833" y="969380"/>
                  <a:pt x="3387424" y="967974"/>
                  <a:pt x="3387424" y="967974"/>
                </a:cubicBezTo>
                <a:cubicBezTo>
                  <a:pt x="3387424" y="965158"/>
                  <a:pt x="3393055" y="958119"/>
                  <a:pt x="3401501" y="946858"/>
                </a:cubicBezTo>
                <a:cubicBezTo>
                  <a:pt x="3411353" y="935597"/>
                  <a:pt x="3415577" y="928559"/>
                  <a:pt x="3415577" y="927151"/>
                </a:cubicBezTo>
                <a:cubicBezTo>
                  <a:pt x="3414168" y="927151"/>
                  <a:pt x="3408538" y="929966"/>
                  <a:pt x="3401501" y="932781"/>
                </a:cubicBezTo>
                <a:cubicBezTo>
                  <a:pt x="3397277" y="934190"/>
                  <a:pt x="3393055" y="937005"/>
                  <a:pt x="3387424" y="939821"/>
                </a:cubicBezTo>
                <a:cubicBezTo>
                  <a:pt x="3367717" y="949673"/>
                  <a:pt x="3325489" y="963750"/>
                  <a:pt x="3319857" y="958119"/>
                </a:cubicBezTo>
                <a:cubicBezTo>
                  <a:pt x="3318450" y="956712"/>
                  <a:pt x="3318450" y="956712"/>
                  <a:pt x="3319857" y="955304"/>
                </a:cubicBezTo>
                <a:cubicBezTo>
                  <a:pt x="3319857" y="952489"/>
                  <a:pt x="3326896" y="949673"/>
                  <a:pt x="3339564" y="942636"/>
                </a:cubicBezTo>
                <a:cubicBezTo>
                  <a:pt x="3360680" y="932781"/>
                  <a:pt x="3393055" y="915891"/>
                  <a:pt x="3400092" y="893369"/>
                </a:cubicBezTo>
                <a:cubicBezTo>
                  <a:pt x="3395870" y="893369"/>
                  <a:pt x="3381794" y="893369"/>
                  <a:pt x="3363495" y="866623"/>
                </a:cubicBezTo>
                <a:cubicBezTo>
                  <a:pt x="3340973" y="832841"/>
                  <a:pt x="3328303" y="801873"/>
                  <a:pt x="3302967" y="801873"/>
                </a:cubicBezTo>
                <a:cubicBezTo>
                  <a:pt x="3273406" y="801873"/>
                  <a:pt x="3211471" y="842694"/>
                  <a:pt x="3188948" y="856770"/>
                </a:cubicBezTo>
                <a:cubicBezTo>
                  <a:pt x="3170650" y="824395"/>
                  <a:pt x="3160796" y="789205"/>
                  <a:pt x="3160796" y="749791"/>
                </a:cubicBezTo>
                <a:cubicBezTo>
                  <a:pt x="3160796" y="628735"/>
                  <a:pt x="3259331" y="530201"/>
                  <a:pt x="3380387" y="530201"/>
                </a:cubicBezTo>
                <a:close/>
                <a:moveTo>
                  <a:pt x="3381794" y="511901"/>
                </a:moveTo>
                <a:cubicBezTo>
                  <a:pt x="3249476" y="511901"/>
                  <a:pt x="3142497" y="618881"/>
                  <a:pt x="3142497" y="751198"/>
                </a:cubicBezTo>
                <a:cubicBezTo>
                  <a:pt x="3142497" y="883515"/>
                  <a:pt x="3249476" y="990494"/>
                  <a:pt x="3381794" y="990494"/>
                </a:cubicBezTo>
                <a:cubicBezTo>
                  <a:pt x="3514111" y="990494"/>
                  <a:pt x="3621090" y="883515"/>
                  <a:pt x="3621090" y="751198"/>
                </a:cubicBezTo>
                <a:cubicBezTo>
                  <a:pt x="3621090" y="618881"/>
                  <a:pt x="3514111" y="511901"/>
                  <a:pt x="3381794" y="511901"/>
                </a:cubicBezTo>
                <a:close/>
                <a:moveTo>
                  <a:pt x="0" y="0"/>
                </a:moveTo>
                <a:lnTo>
                  <a:pt x="4065588" y="0"/>
                </a:lnTo>
                <a:lnTo>
                  <a:pt x="406558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7CDAAF-2AF2-4783-8DE4-27BC54426A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8AD48C63-78A6-4D64-B839-4870EFEB9C1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35498E4F-C239-4466-9749-1B09669B16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2185" y="112940"/>
            <a:ext cx="5481638" cy="115416"/>
          </a:xfrm>
        </p:spPr>
        <p:txBody>
          <a:bodyPr wrap="square">
            <a:spAutoFit/>
          </a:bodyPr>
          <a:lstStyle>
            <a:lvl1pPr>
              <a:defRPr sz="75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800" b="0" i="1">
                <a:solidFill>
                  <a:schemeClr val="accent1"/>
                </a:solidFill>
              </a:defRPr>
            </a:lvl2pPr>
            <a:lvl3pPr>
              <a:defRPr sz="1800" b="0" i="1">
                <a:solidFill>
                  <a:schemeClr val="accent1"/>
                </a:solidFill>
              </a:defRPr>
            </a:lvl3pPr>
            <a:lvl4pPr>
              <a:defRPr sz="1800" b="0" i="1">
                <a:solidFill>
                  <a:schemeClr val="accent1"/>
                </a:solidFill>
              </a:defRPr>
            </a:lvl4pPr>
            <a:lvl5pPr>
              <a:defRPr sz="18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8B553044-A7EF-4D99-AFFE-65160BC4F088}"/>
              </a:ext>
            </a:extLst>
          </p:cNvPr>
          <p:cNvSpPr>
            <a:spLocks noGrp="1"/>
          </p:cNvSpPr>
          <p:nvPr>
            <p:ph type="subTitle" idx="18"/>
          </p:nvPr>
        </p:nvSpPr>
        <p:spPr>
          <a:xfrm>
            <a:off x="332185" y="618295"/>
            <a:ext cx="5481638" cy="276999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800" b="0" i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225"/>
              </a:spcAft>
              <a:buNone/>
              <a:defRPr sz="1800" i="1">
                <a:solidFill>
                  <a:schemeClr val="accent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3FD6B7E-953A-4054-A896-47841779FFD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332185" y="4885343"/>
            <a:ext cx="5481638" cy="115416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First name last name, date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01BFED4C-BEDD-468A-969C-E74A088AAE44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3"/>
            </p:custDataLst>
          </p:nvPr>
        </p:nvSpPr>
        <p:spPr>
          <a:xfrm>
            <a:off x="6724036" y="4885343"/>
            <a:ext cx="1728839" cy="115416"/>
          </a:xfrm>
        </p:spPr>
        <p:txBody>
          <a:bodyPr/>
          <a:lstStyle>
            <a:lvl1pPr algn="r">
              <a:defRPr sz="750" b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Internal confidential  •  Copyright® 202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224805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3" pos="279">
          <p15:clr>
            <a:srgbClr val="9FCC3B"/>
          </p15:clr>
        </p15:guide>
        <p15:guide id="4" orient="horz" pos="1139">
          <p15:clr>
            <a:srgbClr val="9FCC3B"/>
          </p15:clr>
        </p15:guide>
        <p15:guide id="5" orient="horz" pos="2591">
          <p15:clr>
            <a:srgbClr val="9FCC3B"/>
          </p15:clr>
        </p15:guide>
        <p15:guide id="6" orient="horz" pos="4042">
          <p15:clr>
            <a:srgbClr val="9FCC3B"/>
          </p15:clr>
        </p15:guide>
        <p15:guide id="7" pos="4883">
          <p15:clr>
            <a:srgbClr val="9FCC3B"/>
          </p15:clr>
        </p15:guide>
        <p15:guide id="8" pos="7401">
          <p15:clr>
            <a:srgbClr val="9FCC3B"/>
          </p15:clr>
        </p15:guide>
        <p15:guide id="9" pos="5110">
          <p15:clr>
            <a:srgbClr val="9FCC3B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+Right Picture 70:30 |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479C574-8225-4134-B378-F4C332F2DF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388142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6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479C574-8225-4134-B378-F4C332F2DF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CE740D4-1B25-4367-9B11-A14AE3B9F6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185" y="341295"/>
            <a:ext cx="5481638" cy="276999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2BB489-86A6-4D41-BFFD-2AD8081D3C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2185" y="1369219"/>
            <a:ext cx="5481638" cy="344328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extplatzhalter 16">
            <a:extLst>
              <a:ext uri="{FF2B5EF4-FFF2-40B4-BE49-F238E27FC236}">
                <a16:creationId xmlns:a16="http://schemas.microsoft.com/office/drawing/2014/main" id="{578603F6-7C4F-4597-A4FD-FC0CC443EB50}"/>
              </a:ext>
            </a:extLst>
          </p:cNvPr>
          <p:cNvSpPr txBox="1">
            <a:spLocks/>
          </p:cNvSpPr>
          <p:nvPr/>
        </p:nvSpPr>
        <p:spPr bwMode="gray">
          <a:xfrm>
            <a:off x="332185" y="956104"/>
            <a:ext cx="280736" cy="216000"/>
          </a:xfrm>
          <a:prstGeom prst="rect">
            <a:avLst/>
          </a:prstGeom>
          <a:noFill/>
        </p:spPr>
        <p:txBody>
          <a:bodyPr vert="horz" lIns="0" tIns="108000" rIns="0" bIns="0" rtlCol="0" anchor="b">
            <a:no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783" rtl="0" eaLnBrk="1" latinLnBrk="0" hangingPunct="1">
              <a:lnSpc>
                <a:spcPct val="100000"/>
              </a:lnSpc>
              <a:spcBef>
                <a:spcPts val="288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—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D19C654C-870F-42D3-963E-6FAF8793D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4809" y="0"/>
            <a:ext cx="3049191" cy="5143500"/>
          </a:xfrm>
          <a:custGeom>
            <a:avLst/>
            <a:gdLst>
              <a:gd name="connsiteX0" fmla="*/ 3488773 w 4065588"/>
              <a:gd name="connsiteY0" fmla="*/ 766683 h 6858000"/>
              <a:gd name="connsiteX1" fmla="*/ 3478920 w 4065588"/>
              <a:gd name="connsiteY1" fmla="*/ 776535 h 6858000"/>
              <a:gd name="connsiteX2" fmla="*/ 3488773 w 4065588"/>
              <a:gd name="connsiteY2" fmla="*/ 786388 h 6858000"/>
              <a:gd name="connsiteX3" fmla="*/ 3498627 w 4065588"/>
              <a:gd name="connsiteY3" fmla="*/ 776535 h 6858000"/>
              <a:gd name="connsiteX4" fmla="*/ 3488773 w 4065588"/>
              <a:gd name="connsiteY4" fmla="*/ 766683 h 6858000"/>
              <a:gd name="connsiteX5" fmla="*/ 3322674 w 4065588"/>
              <a:gd name="connsiteY5" fmla="*/ 692078 h 6858000"/>
              <a:gd name="connsiteX6" fmla="*/ 3324081 w 4065588"/>
              <a:gd name="connsiteY6" fmla="*/ 692078 h 6858000"/>
              <a:gd name="connsiteX7" fmla="*/ 3322674 w 4065588"/>
              <a:gd name="connsiteY7" fmla="*/ 693485 h 6858000"/>
              <a:gd name="connsiteX8" fmla="*/ 3302967 w 4065588"/>
              <a:gd name="connsiteY8" fmla="*/ 710377 h 6858000"/>
              <a:gd name="connsiteX9" fmla="*/ 3286075 w 4065588"/>
              <a:gd name="connsiteY9" fmla="*/ 714599 h 6858000"/>
              <a:gd name="connsiteX10" fmla="*/ 3271999 w 4065588"/>
              <a:gd name="connsiteY10" fmla="*/ 711785 h 6858000"/>
              <a:gd name="connsiteX11" fmla="*/ 3288891 w 4065588"/>
              <a:gd name="connsiteY11" fmla="*/ 697709 h 6858000"/>
              <a:gd name="connsiteX12" fmla="*/ 3322674 w 4065588"/>
              <a:gd name="connsiteY12" fmla="*/ 692078 h 6858000"/>
              <a:gd name="connsiteX13" fmla="*/ 3333934 w 4065588"/>
              <a:gd name="connsiteY13" fmla="*/ 609028 h 6858000"/>
              <a:gd name="connsiteX14" fmla="*/ 3346603 w 4065588"/>
              <a:gd name="connsiteY14" fmla="*/ 618881 h 6858000"/>
              <a:gd name="connsiteX15" fmla="*/ 3333934 w 4065588"/>
              <a:gd name="connsiteY15" fmla="*/ 628735 h 6858000"/>
              <a:gd name="connsiteX16" fmla="*/ 3321266 w 4065588"/>
              <a:gd name="connsiteY16" fmla="*/ 618881 h 6858000"/>
              <a:gd name="connsiteX17" fmla="*/ 3333934 w 4065588"/>
              <a:gd name="connsiteY17" fmla="*/ 609028 h 6858000"/>
              <a:gd name="connsiteX18" fmla="*/ 3380387 w 4065588"/>
              <a:gd name="connsiteY18" fmla="*/ 530201 h 6858000"/>
              <a:gd name="connsiteX19" fmla="*/ 3546486 w 4065588"/>
              <a:gd name="connsiteY19" fmla="*/ 606213 h 6858000"/>
              <a:gd name="connsiteX20" fmla="*/ 3550709 w 4065588"/>
              <a:gd name="connsiteY20" fmla="*/ 679408 h 6858000"/>
              <a:gd name="connsiteX21" fmla="*/ 3497219 w 4065588"/>
              <a:gd name="connsiteY21" fmla="*/ 676593 h 6858000"/>
              <a:gd name="connsiteX22" fmla="*/ 3501443 w 4065588"/>
              <a:gd name="connsiteY22" fmla="*/ 666741 h 6858000"/>
              <a:gd name="connsiteX23" fmla="*/ 3508480 w 4065588"/>
              <a:gd name="connsiteY23" fmla="*/ 665332 h 6858000"/>
              <a:gd name="connsiteX24" fmla="*/ 3509888 w 4065588"/>
              <a:gd name="connsiteY24" fmla="*/ 661110 h 6858000"/>
              <a:gd name="connsiteX25" fmla="*/ 3492997 w 4065588"/>
              <a:gd name="connsiteY25" fmla="*/ 655479 h 6858000"/>
              <a:gd name="connsiteX26" fmla="*/ 3471881 w 4065588"/>
              <a:gd name="connsiteY26" fmla="*/ 656888 h 6858000"/>
              <a:gd name="connsiteX27" fmla="*/ 3463435 w 4065588"/>
              <a:gd name="connsiteY27" fmla="*/ 654071 h 6858000"/>
              <a:gd name="connsiteX28" fmla="*/ 3460620 w 4065588"/>
              <a:gd name="connsiteY28" fmla="*/ 649849 h 6858000"/>
              <a:gd name="connsiteX29" fmla="*/ 3463435 w 4065588"/>
              <a:gd name="connsiteY29" fmla="*/ 641403 h 6858000"/>
              <a:gd name="connsiteX30" fmla="*/ 3471881 w 4065588"/>
              <a:gd name="connsiteY30" fmla="*/ 639996 h 6858000"/>
              <a:gd name="connsiteX31" fmla="*/ 3473290 w 4065588"/>
              <a:gd name="connsiteY31" fmla="*/ 635772 h 6858000"/>
              <a:gd name="connsiteX32" fmla="*/ 3456398 w 4065588"/>
              <a:gd name="connsiteY32" fmla="*/ 630142 h 6858000"/>
              <a:gd name="connsiteX33" fmla="*/ 3435284 w 4065588"/>
              <a:gd name="connsiteY33" fmla="*/ 631550 h 6858000"/>
              <a:gd name="connsiteX34" fmla="*/ 3426838 w 4065588"/>
              <a:gd name="connsiteY34" fmla="*/ 628735 h 6858000"/>
              <a:gd name="connsiteX35" fmla="*/ 3424023 w 4065588"/>
              <a:gd name="connsiteY35" fmla="*/ 624511 h 6858000"/>
              <a:gd name="connsiteX36" fmla="*/ 3426838 w 4065588"/>
              <a:gd name="connsiteY36" fmla="*/ 614659 h 6858000"/>
              <a:gd name="connsiteX37" fmla="*/ 3435284 w 4065588"/>
              <a:gd name="connsiteY37" fmla="*/ 613250 h 6858000"/>
              <a:gd name="connsiteX38" fmla="*/ 3436691 w 4065588"/>
              <a:gd name="connsiteY38" fmla="*/ 609028 h 6858000"/>
              <a:gd name="connsiteX39" fmla="*/ 3419799 w 4065588"/>
              <a:gd name="connsiteY39" fmla="*/ 603397 h 6858000"/>
              <a:gd name="connsiteX40" fmla="*/ 3398685 w 4065588"/>
              <a:gd name="connsiteY40" fmla="*/ 604804 h 6858000"/>
              <a:gd name="connsiteX41" fmla="*/ 3394463 w 4065588"/>
              <a:gd name="connsiteY41" fmla="*/ 603397 h 6858000"/>
              <a:gd name="connsiteX42" fmla="*/ 3393055 w 4065588"/>
              <a:gd name="connsiteY42" fmla="*/ 600582 h 6858000"/>
              <a:gd name="connsiteX43" fmla="*/ 3394463 w 4065588"/>
              <a:gd name="connsiteY43" fmla="*/ 593545 h 6858000"/>
              <a:gd name="connsiteX44" fmla="*/ 3395870 w 4065588"/>
              <a:gd name="connsiteY44" fmla="*/ 573836 h 6858000"/>
              <a:gd name="connsiteX45" fmla="*/ 3383200 w 4065588"/>
              <a:gd name="connsiteY45" fmla="*/ 551315 h 6858000"/>
              <a:gd name="connsiteX46" fmla="*/ 3378978 w 4065588"/>
              <a:gd name="connsiteY46" fmla="*/ 549907 h 6858000"/>
              <a:gd name="connsiteX47" fmla="*/ 3377571 w 4065588"/>
              <a:gd name="connsiteY47" fmla="*/ 555537 h 6858000"/>
              <a:gd name="connsiteX48" fmla="*/ 3352234 w 4065588"/>
              <a:gd name="connsiteY48" fmla="*/ 589321 h 6858000"/>
              <a:gd name="connsiteX49" fmla="*/ 3343788 w 4065588"/>
              <a:gd name="connsiteY49" fmla="*/ 589321 h 6858000"/>
              <a:gd name="connsiteX50" fmla="*/ 3338157 w 4065588"/>
              <a:gd name="connsiteY50" fmla="*/ 589321 h 6858000"/>
              <a:gd name="connsiteX51" fmla="*/ 3335342 w 4065588"/>
              <a:gd name="connsiteY51" fmla="*/ 589321 h 6858000"/>
              <a:gd name="connsiteX52" fmla="*/ 3329711 w 4065588"/>
              <a:gd name="connsiteY52" fmla="*/ 589321 h 6858000"/>
              <a:gd name="connsiteX53" fmla="*/ 3321266 w 4065588"/>
              <a:gd name="connsiteY53" fmla="*/ 590728 h 6858000"/>
              <a:gd name="connsiteX54" fmla="*/ 3301558 w 4065588"/>
              <a:gd name="connsiteY54" fmla="*/ 610435 h 6858000"/>
              <a:gd name="connsiteX55" fmla="*/ 3301558 w 4065588"/>
              <a:gd name="connsiteY55" fmla="*/ 613250 h 6858000"/>
              <a:gd name="connsiteX56" fmla="*/ 3298743 w 4065588"/>
              <a:gd name="connsiteY56" fmla="*/ 617474 h 6858000"/>
              <a:gd name="connsiteX57" fmla="*/ 3287482 w 4065588"/>
              <a:gd name="connsiteY57" fmla="*/ 618881 h 6858000"/>
              <a:gd name="connsiteX58" fmla="*/ 3245254 w 4065588"/>
              <a:gd name="connsiteY58" fmla="*/ 607619 h 6858000"/>
              <a:gd name="connsiteX59" fmla="*/ 3242439 w 4065588"/>
              <a:gd name="connsiteY59" fmla="*/ 606213 h 6858000"/>
              <a:gd name="connsiteX60" fmla="*/ 3241031 w 4065588"/>
              <a:gd name="connsiteY60" fmla="*/ 607619 h 6858000"/>
              <a:gd name="connsiteX61" fmla="*/ 3229769 w 4065588"/>
              <a:gd name="connsiteY61" fmla="*/ 637181 h 6858000"/>
              <a:gd name="connsiteX62" fmla="*/ 3249476 w 4065588"/>
              <a:gd name="connsiteY62" fmla="*/ 673778 h 6858000"/>
              <a:gd name="connsiteX63" fmla="*/ 3256514 w 4065588"/>
              <a:gd name="connsiteY63" fmla="*/ 678002 h 6858000"/>
              <a:gd name="connsiteX64" fmla="*/ 3256514 w 4065588"/>
              <a:gd name="connsiteY64" fmla="*/ 675186 h 6858000"/>
              <a:gd name="connsiteX65" fmla="*/ 3259331 w 4065588"/>
              <a:gd name="connsiteY65" fmla="*/ 665332 h 6858000"/>
              <a:gd name="connsiteX66" fmla="*/ 3277629 w 4065588"/>
              <a:gd name="connsiteY66" fmla="*/ 661110 h 6858000"/>
              <a:gd name="connsiteX67" fmla="*/ 3279036 w 4065588"/>
              <a:gd name="connsiteY67" fmla="*/ 662517 h 6858000"/>
              <a:gd name="connsiteX68" fmla="*/ 3291706 w 4065588"/>
              <a:gd name="connsiteY68" fmla="*/ 666741 h 6858000"/>
              <a:gd name="connsiteX69" fmla="*/ 3304374 w 4065588"/>
              <a:gd name="connsiteY69" fmla="*/ 662517 h 6858000"/>
              <a:gd name="connsiteX70" fmla="*/ 3322674 w 4065588"/>
              <a:gd name="connsiteY70" fmla="*/ 662517 h 6858000"/>
              <a:gd name="connsiteX71" fmla="*/ 3325489 w 4065588"/>
              <a:gd name="connsiteY71" fmla="*/ 678002 h 6858000"/>
              <a:gd name="connsiteX72" fmla="*/ 3325489 w 4065588"/>
              <a:gd name="connsiteY72" fmla="*/ 679408 h 6858000"/>
              <a:gd name="connsiteX73" fmla="*/ 3324081 w 4065588"/>
              <a:gd name="connsiteY73" fmla="*/ 679408 h 6858000"/>
              <a:gd name="connsiteX74" fmla="*/ 3290297 w 4065588"/>
              <a:gd name="connsiteY74" fmla="*/ 676593 h 6858000"/>
              <a:gd name="connsiteX75" fmla="*/ 3270590 w 4065588"/>
              <a:gd name="connsiteY75" fmla="*/ 685039 h 6858000"/>
              <a:gd name="connsiteX76" fmla="*/ 3236808 w 4065588"/>
              <a:gd name="connsiteY76" fmla="*/ 692078 h 6858000"/>
              <a:gd name="connsiteX77" fmla="*/ 3215693 w 4065588"/>
              <a:gd name="connsiteY77" fmla="*/ 672371 h 6858000"/>
              <a:gd name="connsiteX78" fmla="*/ 3214286 w 4065588"/>
              <a:gd name="connsiteY78" fmla="*/ 669556 h 6858000"/>
              <a:gd name="connsiteX79" fmla="*/ 3212878 w 4065588"/>
              <a:gd name="connsiteY79" fmla="*/ 673778 h 6858000"/>
              <a:gd name="connsiteX80" fmla="*/ 3221323 w 4065588"/>
              <a:gd name="connsiteY80" fmla="*/ 707561 h 6858000"/>
              <a:gd name="connsiteX81" fmla="*/ 3262146 w 4065588"/>
              <a:gd name="connsiteY81" fmla="*/ 713192 h 6858000"/>
              <a:gd name="connsiteX82" fmla="*/ 3263553 w 4065588"/>
              <a:gd name="connsiteY82" fmla="*/ 711785 h 6858000"/>
              <a:gd name="connsiteX83" fmla="*/ 3263553 w 4065588"/>
              <a:gd name="connsiteY83" fmla="*/ 713192 h 6858000"/>
              <a:gd name="connsiteX84" fmla="*/ 3267775 w 4065588"/>
              <a:gd name="connsiteY84" fmla="*/ 727269 h 6858000"/>
              <a:gd name="connsiteX85" fmla="*/ 3286075 w 4065588"/>
              <a:gd name="connsiteY85" fmla="*/ 739936 h 6858000"/>
              <a:gd name="connsiteX86" fmla="*/ 3308598 w 4065588"/>
              <a:gd name="connsiteY86" fmla="*/ 730084 h 6858000"/>
              <a:gd name="connsiteX87" fmla="*/ 3356456 w 4065588"/>
              <a:gd name="connsiteY87" fmla="*/ 713192 h 6858000"/>
              <a:gd name="connsiteX88" fmla="*/ 3424023 w 4065588"/>
              <a:gd name="connsiteY88" fmla="*/ 786388 h 6858000"/>
              <a:gd name="connsiteX89" fmla="*/ 3429654 w 4065588"/>
              <a:gd name="connsiteY89" fmla="*/ 796242 h 6858000"/>
              <a:gd name="connsiteX90" fmla="*/ 3429654 w 4065588"/>
              <a:gd name="connsiteY90" fmla="*/ 797649 h 6858000"/>
              <a:gd name="connsiteX91" fmla="*/ 3435284 w 4065588"/>
              <a:gd name="connsiteY91" fmla="*/ 801873 h 6858000"/>
              <a:gd name="connsiteX92" fmla="*/ 3438099 w 4065588"/>
              <a:gd name="connsiteY92" fmla="*/ 797649 h 6858000"/>
              <a:gd name="connsiteX93" fmla="*/ 3467659 w 4065588"/>
              <a:gd name="connsiteY93" fmla="*/ 758237 h 6858000"/>
              <a:gd name="connsiteX94" fmla="*/ 3494404 w 4065588"/>
              <a:gd name="connsiteY94" fmla="*/ 754013 h 6858000"/>
              <a:gd name="connsiteX95" fmla="*/ 3497219 w 4065588"/>
              <a:gd name="connsiteY95" fmla="*/ 754013 h 6858000"/>
              <a:gd name="connsiteX96" fmla="*/ 3522556 w 4065588"/>
              <a:gd name="connsiteY96" fmla="*/ 744160 h 6858000"/>
              <a:gd name="connsiteX97" fmla="*/ 3590122 w 4065588"/>
              <a:gd name="connsiteY97" fmla="*/ 718823 h 6858000"/>
              <a:gd name="connsiteX98" fmla="*/ 3599976 w 4065588"/>
              <a:gd name="connsiteY98" fmla="*/ 721638 h 6858000"/>
              <a:gd name="connsiteX99" fmla="*/ 3597161 w 4065588"/>
              <a:gd name="connsiteY99" fmla="*/ 728675 h 6858000"/>
              <a:gd name="connsiteX100" fmla="*/ 3592939 w 4065588"/>
              <a:gd name="connsiteY100" fmla="*/ 730084 h 6858000"/>
              <a:gd name="connsiteX101" fmla="*/ 3511295 w 4065588"/>
              <a:gd name="connsiteY101" fmla="*/ 789205 h 6858000"/>
              <a:gd name="connsiteX102" fmla="*/ 3508480 w 4065588"/>
              <a:gd name="connsiteY102" fmla="*/ 810319 h 6858000"/>
              <a:gd name="connsiteX103" fmla="*/ 3508480 w 4065588"/>
              <a:gd name="connsiteY103" fmla="*/ 820172 h 6858000"/>
              <a:gd name="connsiteX104" fmla="*/ 3481736 w 4065588"/>
              <a:gd name="connsiteY104" fmla="*/ 886330 h 6858000"/>
              <a:gd name="connsiteX105" fmla="*/ 3454989 w 4065588"/>
              <a:gd name="connsiteY105" fmla="*/ 908852 h 6858000"/>
              <a:gd name="connsiteX106" fmla="*/ 3449361 w 4065588"/>
              <a:gd name="connsiteY106" fmla="*/ 914483 h 6858000"/>
              <a:gd name="connsiteX107" fmla="*/ 3443730 w 4065588"/>
              <a:gd name="connsiteY107" fmla="*/ 921520 h 6858000"/>
              <a:gd name="connsiteX108" fmla="*/ 3416984 w 4065588"/>
              <a:gd name="connsiteY108" fmla="*/ 951082 h 6858000"/>
              <a:gd name="connsiteX109" fmla="*/ 3390239 w 4065588"/>
              <a:gd name="connsiteY109" fmla="*/ 969380 h 6858000"/>
              <a:gd name="connsiteX110" fmla="*/ 3388833 w 4065588"/>
              <a:gd name="connsiteY110" fmla="*/ 969380 h 6858000"/>
              <a:gd name="connsiteX111" fmla="*/ 3387424 w 4065588"/>
              <a:gd name="connsiteY111" fmla="*/ 967974 h 6858000"/>
              <a:gd name="connsiteX112" fmla="*/ 3401501 w 4065588"/>
              <a:gd name="connsiteY112" fmla="*/ 946858 h 6858000"/>
              <a:gd name="connsiteX113" fmla="*/ 3415577 w 4065588"/>
              <a:gd name="connsiteY113" fmla="*/ 927151 h 6858000"/>
              <a:gd name="connsiteX114" fmla="*/ 3401501 w 4065588"/>
              <a:gd name="connsiteY114" fmla="*/ 932781 h 6858000"/>
              <a:gd name="connsiteX115" fmla="*/ 3387424 w 4065588"/>
              <a:gd name="connsiteY115" fmla="*/ 939821 h 6858000"/>
              <a:gd name="connsiteX116" fmla="*/ 3319857 w 4065588"/>
              <a:gd name="connsiteY116" fmla="*/ 958119 h 6858000"/>
              <a:gd name="connsiteX117" fmla="*/ 3319857 w 4065588"/>
              <a:gd name="connsiteY117" fmla="*/ 955304 h 6858000"/>
              <a:gd name="connsiteX118" fmla="*/ 3339564 w 4065588"/>
              <a:gd name="connsiteY118" fmla="*/ 942636 h 6858000"/>
              <a:gd name="connsiteX119" fmla="*/ 3400092 w 4065588"/>
              <a:gd name="connsiteY119" fmla="*/ 893369 h 6858000"/>
              <a:gd name="connsiteX120" fmla="*/ 3363495 w 4065588"/>
              <a:gd name="connsiteY120" fmla="*/ 866623 h 6858000"/>
              <a:gd name="connsiteX121" fmla="*/ 3302967 w 4065588"/>
              <a:gd name="connsiteY121" fmla="*/ 801873 h 6858000"/>
              <a:gd name="connsiteX122" fmla="*/ 3188948 w 4065588"/>
              <a:gd name="connsiteY122" fmla="*/ 856770 h 6858000"/>
              <a:gd name="connsiteX123" fmla="*/ 3160796 w 4065588"/>
              <a:gd name="connsiteY123" fmla="*/ 749791 h 6858000"/>
              <a:gd name="connsiteX124" fmla="*/ 3380387 w 4065588"/>
              <a:gd name="connsiteY124" fmla="*/ 530201 h 6858000"/>
              <a:gd name="connsiteX125" fmla="*/ 3381794 w 4065588"/>
              <a:gd name="connsiteY125" fmla="*/ 511901 h 6858000"/>
              <a:gd name="connsiteX126" fmla="*/ 3142497 w 4065588"/>
              <a:gd name="connsiteY126" fmla="*/ 751198 h 6858000"/>
              <a:gd name="connsiteX127" fmla="*/ 3381794 w 4065588"/>
              <a:gd name="connsiteY127" fmla="*/ 990494 h 6858000"/>
              <a:gd name="connsiteX128" fmla="*/ 3621090 w 4065588"/>
              <a:gd name="connsiteY128" fmla="*/ 751198 h 6858000"/>
              <a:gd name="connsiteX129" fmla="*/ 3381794 w 4065588"/>
              <a:gd name="connsiteY129" fmla="*/ 511901 h 6858000"/>
              <a:gd name="connsiteX130" fmla="*/ 0 w 4065588"/>
              <a:gd name="connsiteY130" fmla="*/ 0 h 6858000"/>
              <a:gd name="connsiteX131" fmla="*/ 4065588 w 4065588"/>
              <a:gd name="connsiteY131" fmla="*/ 0 h 6858000"/>
              <a:gd name="connsiteX132" fmla="*/ 4065588 w 4065588"/>
              <a:gd name="connsiteY132" fmla="*/ 6858000 h 6858000"/>
              <a:gd name="connsiteX133" fmla="*/ 0 w 4065588"/>
              <a:gd name="connsiteY13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</a:cxnLst>
            <a:rect l="l" t="t" r="r" b="b"/>
            <a:pathLst>
              <a:path w="4065588" h="6858000">
                <a:moveTo>
                  <a:pt x="3488773" y="766683"/>
                </a:moveTo>
                <a:cubicBezTo>
                  <a:pt x="3483142" y="766683"/>
                  <a:pt x="3478920" y="770905"/>
                  <a:pt x="3478920" y="776535"/>
                </a:cubicBezTo>
                <a:cubicBezTo>
                  <a:pt x="3478920" y="782166"/>
                  <a:pt x="3483142" y="786388"/>
                  <a:pt x="3488773" y="786388"/>
                </a:cubicBezTo>
                <a:cubicBezTo>
                  <a:pt x="3494404" y="784981"/>
                  <a:pt x="3498627" y="780759"/>
                  <a:pt x="3498627" y="776535"/>
                </a:cubicBezTo>
                <a:cubicBezTo>
                  <a:pt x="3498627" y="770905"/>
                  <a:pt x="3494404" y="766683"/>
                  <a:pt x="3488773" y="766683"/>
                </a:cubicBezTo>
                <a:close/>
                <a:moveTo>
                  <a:pt x="3322674" y="692078"/>
                </a:moveTo>
                <a:lnTo>
                  <a:pt x="3324081" y="692078"/>
                </a:lnTo>
                <a:cubicBezTo>
                  <a:pt x="3324081" y="692078"/>
                  <a:pt x="3324081" y="693485"/>
                  <a:pt x="3322674" y="693485"/>
                </a:cubicBezTo>
                <a:cubicBezTo>
                  <a:pt x="3319857" y="699116"/>
                  <a:pt x="3314228" y="706155"/>
                  <a:pt x="3302967" y="710377"/>
                </a:cubicBezTo>
                <a:cubicBezTo>
                  <a:pt x="3295928" y="713192"/>
                  <a:pt x="3291706" y="714599"/>
                  <a:pt x="3286075" y="714599"/>
                </a:cubicBezTo>
                <a:cubicBezTo>
                  <a:pt x="3279036" y="714599"/>
                  <a:pt x="3273406" y="713192"/>
                  <a:pt x="3271999" y="711785"/>
                </a:cubicBezTo>
                <a:cubicBezTo>
                  <a:pt x="3271999" y="711785"/>
                  <a:pt x="3279036" y="704746"/>
                  <a:pt x="3288891" y="697709"/>
                </a:cubicBezTo>
                <a:cubicBezTo>
                  <a:pt x="3302967" y="689263"/>
                  <a:pt x="3312820" y="687854"/>
                  <a:pt x="3322674" y="692078"/>
                </a:cubicBezTo>
                <a:close/>
                <a:moveTo>
                  <a:pt x="3333934" y="609028"/>
                </a:moveTo>
                <a:cubicBezTo>
                  <a:pt x="3340973" y="609028"/>
                  <a:pt x="3346603" y="613250"/>
                  <a:pt x="3346603" y="618881"/>
                </a:cubicBezTo>
                <a:cubicBezTo>
                  <a:pt x="3346603" y="624511"/>
                  <a:pt x="3340973" y="628735"/>
                  <a:pt x="3333934" y="628735"/>
                </a:cubicBezTo>
                <a:cubicBezTo>
                  <a:pt x="3326896" y="628735"/>
                  <a:pt x="3321266" y="624511"/>
                  <a:pt x="3321266" y="618881"/>
                </a:cubicBezTo>
                <a:cubicBezTo>
                  <a:pt x="3321266" y="613250"/>
                  <a:pt x="3326896" y="609028"/>
                  <a:pt x="3333934" y="609028"/>
                </a:cubicBezTo>
                <a:close/>
                <a:moveTo>
                  <a:pt x="3380387" y="530201"/>
                </a:moveTo>
                <a:cubicBezTo>
                  <a:pt x="3446544" y="530201"/>
                  <a:pt x="3505665" y="559761"/>
                  <a:pt x="3546486" y="606213"/>
                </a:cubicBezTo>
                <a:cubicBezTo>
                  <a:pt x="3571823" y="638588"/>
                  <a:pt x="3567601" y="665332"/>
                  <a:pt x="3550709" y="679408"/>
                </a:cubicBezTo>
                <a:cubicBezTo>
                  <a:pt x="3529596" y="694893"/>
                  <a:pt x="3501443" y="689263"/>
                  <a:pt x="3497219" y="676593"/>
                </a:cubicBezTo>
                <a:cubicBezTo>
                  <a:pt x="3495812" y="669556"/>
                  <a:pt x="3501443" y="666741"/>
                  <a:pt x="3501443" y="666741"/>
                </a:cubicBezTo>
                <a:cubicBezTo>
                  <a:pt x="3502849" y="665332"/>
                  <a:pt x="3505665" y="665332"/>
                  <a:pt x="3508480" y="665332"/>
                </a:cubicBezTo>
                <a:cubicBezTo>
                  <a:pt x="3512704" y="665332"/>
                  <a:pt x="3512704" y="662517"/>
                  <a:pt x="3509888" y="661110"/>
                </a:cubicBezTo>
                <a:cubicBezTo>
                  <a:pt x="3505665" y="658295"/>
                  <a:pt x="3498627" y="655479"/>
                  <a:pt x="3492997" y="655479"/>
                </a:cubicBezTo>
                <a:cubicBezTo>
                  <a:pt x="3484551" y="655479"/>
                  <a:pt x="3471881" y="656888"/>
                  <a:pt x="3471881" y="656888"/>
                </a:cubicBezTo>
                <a:cubicBezTo>
                  <a:pt x="3469066" y="656888"/>
                  <a:pt x="3466252" y="655479"/>
                  <a:pt x="3463435" y="654071"/>
                </a:cubicBezTo>
                <a:cubicBezTo>
                  <a:pt x="3462028" y="652664"/>
                  <a:pt x="3460620" y="651256"/>
                  <a:pt x="3460620" y="649849"/>
                </a:cubicBezTo>
                <a:cubicBezTo>
                  <a:pt x="3459213" y="642811"/>
                  <a:pt x="3463435" y="641403"/>
                  <a:pt x="3463435" y="641403"/>
                </a:cubicBezTo>
                <a:cubicBezTo>
                  <a:pt x="3464844" y="639996"/>
                  <a:pt x="3469066" y="638588"/>
                  <a:pt x="3471881" y="639996"/>
                </a:cubicBezTo>
                <a:cubicBezTo>
                  <a:pt x="3476105" y="639996"/>
                  <a:pt x="3476105" y="637181"/>
                  <a:pt x="3473290" y="635772"/>
                </a:cubicBezTo>
                <a:cubicBezTo>
                  <a:pt x="3469066" y="632957"/>
                  <a:pt x="3462028" y="630142"/>
                  <a:pt x="3456398" y="630142"/>
                </a:cubicBezTo>
                <a:cubicBezTo>
                  <a:pt x="3447952" y="630142"/>
                  <a:pt x="3435284" y="631550"/>
                  <a:pt x="3435284" y="631550"/>
                </a:cubicBezTo>
                <a:cubicBezTo>
                  <a:pt x="3432469" y="631550"/>
                  <a:pt x="3429654" y="630142"/>
                  <a:pt x="3426838" y="628735"/>
                </a:cubicBezTo>
                <a:cubicBezTo>
                  <a:pt x="3425430" y="627326"/>
                  <a:pt x="3424023" y="625920"/>
                  <a:pt x="3424023" y="624511"/>
                </a:cubicBezTo>
                <a:cubicBezTo>
                  <a:pt x="3422614" y="617474"/>
                  <a:pt x="3426838" y="614659"/>
                  <a:pt x="3426838" y="614659"/>
                </a:cubicBezTo>
                <a:cubicBezTo>
                  <a:pt x="3428245" y="613250"/>
                  <a:pt x="3431060" y="611843"/>
                  <a:pt x="3435284" y="613250"/>
                </a:cubicBezTo>
                <a:cubicBezTo>
                  <a:pt x="3439506" y="613250"/>
                  <a:pt x="3439506" y="610435"/>
                  <a:pt x="3436691" y="609028"/>
                </a:cubicBezTo>
                <a:cubicBezTo>
                  <a:pt x="3432469" y="606213"/>
                  <a:pt x="3425430" y="603397"/>
                  <a:pt x="3419799" y="603397"/>
                </a:cubicBezTo>
                <a:cubicBezTo>
                  <a:pt x="3411353" y="603397"/>
                  <a:pt x="3398685" y="604804"/>
                  <a:pt x="3398685" y="604804"/>
                </a:cubicBezTo>
                <a:cubicBezTo>
                  <a:pt x="3397277" y="604804"/>
                  <a:pt x="3394463" y="604804"/>
                  <a:pt x="3394463" y="603397"/>
                </a:cubicBezTo>
                <a:cubicBezTo>
                  <a:pt x="3393055" y="601989"/>
                  <a:pt x="3393055" y="601989"/>
                  <a:pt x="3393055" y="600582"/>
                </a:cubicBezTo>
                <a:cubicBezTo>
                  <a:pt x="3393055" y="599174"/>
                  <a:pt x="3393055" y="596358"/>
                  <a:pt x="3394463" y="593545"/>
                </a:cubicBezTo>
                <a:cubicBezTo>
                  <a:pt x="3395870" y="587912"/>
                  <a:pt x="3397277" y="582282"/>
                  <a:pt x="3395870" y="573836"/>
                </a:cubicBezTo>
                <a:cubicBezTo>
                  <a:pt x="3394463" y="558353"/>
                  <a:pt x="3386017" y="552722"/>
                  <a:pt x="3383200" y="551315"/>
                </a:cubicBezTo>
                <a:cubicBezTo>
                  <a:pt x="3380387" y="549907"/>
                  <a:pt x="3378978" y="549907"/>
                  <a:pt x="3378978" y="549907"/>
                </a:cubicBezTo>
                <a:cubicBezTo>
                  <a:pt x="3378978" y="549907"/>
                  <a:pt x="3377571" y="552722"/>
                  <a:pt x="3377571" y="555537"/>
                </a:cubicBezTo>
                <a:cubicBezTo>
                  <a:pt x="3376163" y="566799"/>
                  <a:pt x="3374756" y="589321"/>
                  <a:pt x="3352234" y="589321"/>
                </a:cubicBezTo>
                <a:cubicBezTo>
                  <a:pt x="3349418" y="589321"/>
                  <a:pt x="3346603" y="589321"/>
                  <a:pt x="3343788" y="589321"/>
                </a:cubicBezTo>
                <a:cubicBezTo>
                  <a:pt x="3342379" y="589321"/>
                  <a:pt x="3339564" y="589321"/>
                  <a:pt x="3338157" y="589321"/>
                </a:cubicBezTo>
                <a:cubicBezTo>
                  <a:pt x="3336749" y="589321"/>
                  <a:pt x="3336749" y="589321"/>
                  <a:pt x="3335342" y="589321"/>
                </a:cubicBezTo>
                <a:cubicBezTo>
                  <a:pt x="3333934" y="589321"/>
                  <a:pt x="3331120" y="589321"/>
                  <a:pt x="3329711" y="589321"/>
                </a:cubicBezTo>
                <a:cubicBezTo>
                  <a:pt x="3326896" y="589321"/>
                  <a:pt x="3324081" y="589321"/>
                  <a:pt x="3321266" y="590728"/>
                </a:cubicBezTo>
                <a:cubicBezTo>
                  <a:pt x="3310004" y="593545"/>
                  <a:pt x="3302967" y="600582"/>
                  <a:pt x="3301558" y="610435"/>
                </a:cubicBezTo>
                <a:cubicBezTo>
                  <a:pt x="3301558" y="611843"/>
                  <a:pt x="3301558" y="611843"/>
                  <a:pt x="3301558" y="613250"/>
                </a:cubicBezTo>
                <a:cubicBezTo>
                  <a:pt x="3301558" y="614659"/>
                  <a:pt x="3301558" y="617474"/>
                  <a:pt x="3298743" y="617474"/>
                </a:cubicBezTo>
                <a:cubicBezTo>
                  <a:pt x="3298743" y="617474"/>
                  <a:pt x="3294521" y="618881"/>
                  <a:pt x="3287482" y="618881"/>
                </a:cubicBezTo>
                <a:cubicBezTo>
                  <a:pt x="3262146" y="621696"/>
                  <a:pt x="3252292" y="611843"/>
                  <a:pt x="3245254" y="607619"/>
                </a:cubicBezTo>
                <a:cubicBezTo>
                  <a:pt x="3243846" y="607619"/>
                  <a:pt x="3242439" y="606213"/>
                  <a:pt x="3242439" y="606213"/>
                </a:cubicBezTo>
                <a:cubicBezTo>
                  <a:pt x="3242439" y="606213"/>
                  <a:pt x="3242439" y="606213"/>
                  <a:pt x="3241031" y="607619"/>
                </a:cubicBezTo>
                <a:cubicBezTo>
                  <a:pt x="3236808" y="611843"/>
                  <a:pt x="3229769" y="624511"/>
                  <a:pt x="3229769" y="637181"/>
                </a:cubicBezTo>
                <a:cubicBezTo>
                  <a:pt x="3231178" y="658295"/>
                  <a:pt x="3245254" y="670963"/>
                  <a:pt x="3249476" y="673778"/>
                </a:cubicBezTo>
                <a:cubicBezTo>
                  <a:pt x="3253700" y="676593"/>
                  <a:pt x="3256514" y="678002"/>
                  <a:pt x="3256514" y="678002"/>
                </a:cubicBezTo>
                <a:cubicBezTo>
                  <a:pt x="3256514" y="678002"/>
                  <a:pt x="3256514" y="676593"/>
                  <a:pt x="3256514" y="675186"/>
                </a:cubicBezTo>
                <a:cubicBezTo>
                  <a:pt x="3256514" y="672371"/>
                  <a:pt x="3256514" y="669556"/>
                  <a:pt x="3259331" y="665332"/>
                </a:cubicBezTo>
                <a:cubicBezTo>
                  <a:pt x="3264960" y="655479"/>
                  <a:pt x="3273406" y="659701"/>
                  <a:pt x="3277629" y="661110"/>
                </a:cubicBezTo>
                <a:cubicBezTo>
                  <a:pt x="3279036" y="661110"/>
                  <a:pt x="3279036" y="661110"/>
                  <a:pt x="3279036" y="662517"/>
                </a:cubicBezTo>
                <a:cubicBezTo>
                  <a:pt x="3283260" y="663925"/>
                  <a:pt x="3287482" y="666741"/>
                  <a:pt x="3291706" y="666741"/>
                </a:cubicBezTo>
                <a:cubicBezTo>
                  <a:pt x="3295928" y="666741"/>
                  <a:pt x="3301558" y="663925"/>
                  <a:pt x="3304374" y="662517"/>
                </a:cubicBezTo>
                <a:cubicBezTo>
                  <a:pt x="3311413" y="659701"/>
                  <a:pt x="3318450" y="658295"/>
                  <a:pt x="3322674" y="662517"/>
                </a:cubicBezTo>
                <a:cubicBezTo>
                  <a:pt x="3326896" y="666741"/>
                  <a:pt x="3325489" y="676593"/>
                  <a:pt x="3325489" y="678002"/>
                </a:cubicBezTo>
                <a:lnTo>
                  <a:pt x="3325489" y="679408"/>
                </a:lnTo>
                <a:lnTo>
                  <a:pt x="3324081" y="679408"/>
                </a:lnTo>
                <a:cubicBezTo>
                  <a:pt x="3308598" y="673778"/>
                  <a:pt x="3302967" y="675186"/>
                  <a:pt x="3290297" y="676593"/>
                </a:cubicBezTo>
                <a:cubicBezTo>
                  <a:pt x="3283260" y="678002"/>
                  <a:pt x="3276221" y="682224"/>
                  <a:pt x="3270590" y="685039"/>
                </a:cubicBezTo>
                <a:cubicBezTo>
                  <a:pt x="3257922" y="692078"/>
                  <a:pt x="3252292" y="697709"/>
                  <a:pt x="3236808" y="692078"/>
                </a:cubicBezTo>
                <a:cubicBezTo>
                  <a:pt x="3222732" y="686448"/>
                  <a:pt x="3218508" y="678002"/>
                  <a:pt x="3215693" y="672371"/>
                </a:cubicBezTo>
                <a:cubicBezTo>
                  <a:pt x="3214286" y="670963"/>
                  <a:pt x="3214286" y="669556"/>
                  <a:pt x="3214286" y="669556"/>
                </a:cubicBezTo>
                <a:cubicBezTo>
                  <a:pt x="3214286" y="669556"/>
                  <a:pt x="3212878" y="670963"/>
                  <a:pt x="3212878" y="673778"/>
                </a:cubicBezTo>
                <a:cubicBezTo>
                  <a:pt x="3210062" y="680817"/>
                  <a:pt x="3210062" y="694893"/>
                  <a:pt x="3221323" y="707561"/>
                </a:cubicBezTo>
                <a:cubicBezTo>
                  <a:pt x="3236808" y="725860"/>
                  <a:pt x="3252292" y="718823"/>
                  <a:pt x="3262146" y="713192"/>
                </a:cubicBezTo>
                <a:lnTo>
                  <a:pt x="3263553" y="711785"/>
                </a:lnTo>
                <a:lnTo>
                  <a:pt x="3263553" y="713192"/>
                </a:lnTo>
                <a:cubicBezTo>
                  <a:pt x="3263553" y="716007"/>
                  <a:pt x="3264960" y="721638"/>
                  <a:pt x="3267775" y="727269"/>
                </a:cubicBezTo>
                <a:cubicBezTo>
                  <a:pt x="3270590" y="732899"/>
                  <a:pt x="3277629" y="739936"/>
                  <a:pt x="3286075" y="739936"/>
                </a:cubicBezTo>
                <a:cubicBezTo>
                  <a:pt x="3291706" y="739936"/>
                  <a:pt x="3300152" y="735714"/>
                  <a:pt x="3308598" y="730084"/>
                </a:cubicBezTo>
                <a:cubicBezTo>
                  <a:pt x="3324081" y="721638"/>
                  <a:pt x="3336749" y="710377"/>
                  <a:pt x="3356456" y="713192"/>
                </a:cubicBezTo>
                <a:cubicBezTo>
                  <a:pt x="3387424" y="718823"/>
                  <a:pt x="3412762" y="765274"/>
                  <a:pt x="3424023" y="786388"/>
                </a:cubicBezTo>
                <a:cubicBezTo>
                  <a:pt x="3426838" y="790612"/>
                  <a:pt x="3428245" y="794834"/>
                  <a:pt x="3429654" y="796242"/>
                </a:cubicBezTo>
                <a:cubicBezTo>
                  <a:pt x="3429654" y="796242"/>
                  <a:pt x="3429654" y="796242"/>
                  <a:pt x="3429654" y="797649"/>
                </a:cubicBezTo>
                <a:cubicBezTo>
                  <a:pt x="3431060" y="799058"/>
                  <a:pt x="3433876" y="803280"/>
                  <a:pt x="3435284" y="801873"/>
                </a:cubicBezTo>
                <a:cubicBezTo>
                  <a:pt x="3438099" y="800464"/>
                  <a:pt x="3438099" y="797649"/>
                  <a:pt x="3438099" y="797649"/>
                </a:cubicBezTo>
                <a:cubicBezTo>
                  <a:pt x="3440915" y="772313"/>
                  <a:pt x="3457806" y="762459"/>
                  <a:pt x="3467659" y="758237"/>
                </a:cubicBezTo>
                <a:cubicBezTo>
                  <a:pt x="3477512" y="754013"/>
                  <a:pt x="3487366" y="754013"/>
                  <a:pt x="3494404" y="754013"/>
                </a:cubicBezTo>
                <a:cubicBezTo>
                  <a:pt x="3495812" y="754013"/>
                  <a:pt x="3495812" y="754013"/>
                  <a:pt x="3497219" y="754013"/>
                </a:cubicBezTo>
                <a:cubicBezTo>
                  <a:pt x="3502849" y="754013"/>
                  <a:pt x="3511295" y="749791"/>
                  <a:pt x="3522556" y="744160"/>
                </a:cubicBezTo>
                <a:cubicBezTo>
                  <a:pt x="3539448" y="735714"/>
                  <a:pt x="3561971" y="724453"/>
                  <a:pt x="3590122" y="718823"/>
                </a:cubicBezTo>
                <a:cubicBezTo>
                  <a:pt x="3597161" y="717414"/>
                  <a:pt x="3599976" y="718823"/>
                  <a:pt x="3599976" y="721638"/>
                </a:cubicBezTo>
                <a:cubicBezTo>
                  <a:pt x="3599976" y="723045"/>
                  <a:pt x="3599976" y="727269"/>
                  <a:pt x="3597161" y="728675"/>
                </a:cubicBezTo>
                <a:lnTo>
                  <a:pt x="3592939" y="730084"/>
                </a:lnTo>
                <a:cubicBezTo>
                  <a:pt x="3564786" y="742752"/>
                  <a:pt x="3521150" y="758237"/>
                  <a:pt x="3511295" y="789205"/>
                </a:cubicBezTo>
                <a:cubicBezTo>
                  <a:pt x="3508480" y="794834"/>
                  <a:pt x="3508480" y="801873"/>
                  <a:pt x="3508480" y="810319"/>
                </a:cubicBezTo>
                <a:cubicBezTo>
                  <a:pt x="3508480" y="813134"/>
                  <a:pt x="3508480" y="815949"/>
                  <a:pt x="3508480" y="820172"/>
                </a:cubicBezTo>
                <a:cubicBezTo>
                  <a:pt x="3508480" y="855362"/>
                  <a:pt x="3491588" y="876477"/>
                  <a:pt x="3481736" y="886330"/>
                </a:cubicBezTo>
                <a:cubicBezTo>
                  <a:pt x="3471881" y="896184"/>
                  <a:pt x="3462028" y="904628"/>
                  <a:pt x="3454989" y="908852"/>
                </a:cubicBezTo>
                <a:cubicBezTo>
                  <a:pt x="3452176" y="911668"/>
                  <a:pt x="3449361" y="913074"/>
                  <a:pt x="3449361" y="914483"/>
                </a:cubicBezTo>
                <a:cubicBezTo>
                  <a:pt x="3449361" y="914483"/>
                  <a:pt x="3446544" y="917298"/>
                  <a:pt x="3443730" y="921520"/>
                </a:cubicBezTo>
                <a:cubicBezTo>
                  <a:pt x="3436691" y="929966"/>
                  <a:pt x="3426838" y="942636"/>
                  <a:pt x="3416984" y="951082"/>
                </a:cubicBezTo>
                <a:cubicBezTo>
                  <a:pt x="3407131" y="960934"/>
                  <a:pt x="3394463" y="969380"/>
                  <a:pt x="3390239" y="969380"/>
                </a:cubicBezTo>
                <a:cubicBezTo>
                  <a:pt x="3388833" y="969380"/>
                  <a:pt x="3388833" y="969380"/>
                  <a:pt x="3388833" y="969380"/>
                </a:cubicBezTo>
                <a:cubicBezTo>
                  <a:pt x="3388833" y="969380"/>
                  <a:pt x="3387424" y="967974"/>
                  <a:pt x="3387424" y="967974"/>
                </a:cubicBezTo>
                <a:cubicBezTo>
                  <a:pt x="3387424" y="965158"/>
                  <a:pt x="3393055" y="958119"/>
                  <a:pt x="3401501" y="946858"/>
                </a:cubicBezTo>
                <a:cubicBezTo>
                  <a:pt x="3411353" y="935597"/>
                  <a:pt x="3415577" y="928559"/>
                  <a:pt x="3415577" y="927151"/>
                </a:cubicBezTo>
                <a:cubicBezTo>
                  <a:pt x="3414168" y="927151"/>
                  <a:pt x="3408538" y="929966"/>
                  <a:pt x="3401501" y="932781"/>
                </a:cubicBezTo>
                <a:cubicBezTo>
                  <a:pt x="3397277" y="934190"/>
                  <a:pt x="3393055" y="937005"/>
                  <a:pt x="3387424" y="939821"/>
                </a:cubicBezTo>
                <a:cubicBezTo>
                  <a:pt x="3367717" y="949673"/>
                  <a:pt x="3325489" y="963750"/>
                  <a:pt x="3319857" y="958119"/>
                </a:cubicBezTo>
                <a:cubicBezTo>
                  <a:pt x="3318450" y="956712"/>
                  <a:pt x="3318450" y="956712"/>
                  <a:pt x="3319857" y="955304"/>
                </a:cubicBezTo>
                <a:cubicBezTo>
                  <a:pt x="3319857" y="952489"/>
                  <a:pt x="3326896" y="949673"/>
                  <a:pt x="3339564" y="942636"/>
                </a:cubicBezTo>
                <a:cubicBezTo>
                  <a:pt x="3360680" y="932781"/>
                  <a:pt x="3393055" y="915891"/>
                  <a:pt x="3400092" y="893369"/>
                </a:cubicBezTo>
                <a:cubicBezTo>
                  <a:pt x="3395870" y="893369"/>
                  <a:pt x="3381794" y="893369"/>
                  <a:pt x="3363495" y="866623"/>
                </a:cubicBezTo>
                <a:cubicBezTo>
                  <a:pt x="3340973" y="832841"/>
                  <a:pt x="3328303" y="801873"/>
                  <a:pt x="3302967" y="801873"/>
                </a:cubicBezTo>
                <a:cubicBezTo>
                  <a:pt x="3273406" y="801873"/>
                  <a:pt x="3211471" y="842694"/>
                  <a:pt x="3188948" y="856770"/>
                </a:cubicBezTo>
                <a:cubicBezTo>
                  <a:pt x="3170650" y="824395"/>
                  <a:pt x="3160796" y="789205"/>
                  <a:pt x="3160796" y="749791"/>
                </a:cubicBezTo>
                <a:cubicBezTo>
                  <a:pt x="3160796" y="628735"/>
                  <a:pt x="3259331" y="530201"/>
                  <a:pt x="3380387" y="530201"/>
                </a:cubicBezTo>
                <a:close/>
                <a:moveTo>
                  <a:pt x="3381794" y="511901"/>
                </a:moveTo>
                <a:cubicBezTo>
                  <a:pt x="3249476" y="511901"/>
                  <a:pt x="3142497" y="618881"/>
                  <a:pt x="3142497" y="751198"/>
                </a:cubicBezTo>
                <a:cubicBezTo>
                  <a:pt x="3142497" y="883515"/>
                  <a:pt x="3249476" y="990494"/>
                  <a:pt x="3381794" y="990494"/>
                </a:cubicBezTo>
                <a:cubicBezTo>
                  <a:pt x="3514111" y="990494"/>
                  <a:pt x="3621090" y="883515"/>
                  <a:pt x="3621090" y="751198"/>
                </a:cubicBezTo>
                <a:cubicBezTo>
                  <a:pt x="3621090" y="618881"/>
                  <a:pt x="3514111" y="511901"/>
                  <a:pt x="3381794" y="511901"/>
                </a:cubicBezTo>
                <a:close/>
                <a:moveTo>
                  <a:pt x="0" y="0"/>
                </a:moveTo>
                <a:lnTo>
                  <a:pt x="4065588" y="0"/>
                </a:lnTo>
                <a:lnTo>
                  <a:pt x="406558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7CDAAF-2AF2-4783-8DE4-27BC54426A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8AD48C63-78A6-4D64-B839-4870EFEB9C1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87F85E65-3263-4877-BCCC-76476DAFF9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2185" y="112940"/>
            <a:ext cx="5481638" cy="115416"/>
          </a:xfrm>
        </p:spPr>
        <p:txBody>
          <a:bodyPr wrap="square">
            <a:spAutoFit/>
          </a:bodyPr>
          <a:lstStyle>
            <a:lvl1pPr>
              <a:defRPr sz="75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800" b="0" i="1">
                <a:solidFill>
                  <a:schemeClr val="accent1"/>
                </a:solidFill>
              </a:defRPr>
            </a:lvl2pPr>
            <a:lvl3pPr>
              <a:defRPr sz="1800" b="0" i="1">
                <a:solidFill>
                  <a:schemeClr val="accent1"/>
                </a:solidFill>
              </a:defRPr>
            </a:lvl3pPr>
            <a:lvl4pPr>
              <a:defRPr sz="1800" b="0" i="1">
                <a:solidFill>
                  <a:schemeClr val="accent1"/>
                </a:solidFill>
              </a:defRPr>
            </a:lvl4pPr>
            <a:lvl5pPr>
              <a:defRPr sz="18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11D8EC71-7954-4B0E-A9C0-5BE90EE7DF7F}"/>
              </a:ext>
            </a:extLst>
          </p:cNvPr>
          <p:cNvSpPr>
            <a:spLocks noGrp="1"/>
          </p:cNvSpPr>
          <p:nvPr>
            <p:ph type="subTitle" idx="18"/>
          </p:nvPr>
        </p:nvSpPr>
        <p:spPr>
          <a:xfrm>
            <a:off x="332185" y="618295"/>
            <a:ext cx="5481638" cy="276999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800" b="0" i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225"/>
              </a:spcAft>
              <a:buNone/>
              <a:defRPr sz="1800" i="1">
                <a:solidFill>
                  <a:schemeClr val="accent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E31B2E0-B31D-41AB-81C2-978FD84B4FC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332185" y="4885343"/>
            <a:ext cx="5481638" cy="115416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First name last name, dat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D512FD5C-DA92-4EDB-AF41-00E0D67A6754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3"/>
            </p:custDataLst>
          </p:nvPr>
        </p:nvSpPr>
        <p:spPr>
          <a:xfrm>
            <a:off x="6724036" y="4885343"/>
            <a:ext cx="1728839" cy="115416"/>
          </a:xfrm>
        </p:spPr>
        <p:txBody>
          <a:bodyPr/>
          <a:lstStyle>
            <a:lvl1pPr algn="r">
              <a:defRPr sz="750" b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Internal confidential  •  Copyright® 202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226560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4883">
          <p15:clr>
            <a:srgbClr val="9FCC3B"/>
          </p15:clr>
        </p15:guide>
        <p15:guide id="2" pos="279">
          <p15:clr>
            <a:srgbClr val="9FCC3B"/>
          </p15:clr>
        </p15:guide>
        <p15:guide id="4" orient="horz" pos="2591">
          <p15:clr>
            <a:srgbClr val="9FCC3B"/>
          </p15:clr>
        </p15:guide>
        <p15:guide id="5" orient="horz" pos="4042">
          <p15:clr>
            <a:srgbClr val="9FCC3B"/>
          </p15:clr>
        </p15:guide>
        <p15:guide id="6" orient="horz" pos="1139">
          <p15:clr>
            <a:srgbClr val="9FCC3B"/>
          </p15:clr>
        </p15:guide>
        <p15:guide id="7" pos="5110">
          <p15:clr>
            <a:srgbClr val="9FCC3B"/>
          </p15:clr>
        </p15:guide>
        <p15:guide id="8" pos="7401">
          <p15:clr>
            <a:srgbClr val="9FCC3B"/>
          </p15:clr>
        </p15:guide>
        <p15:guide id="9" pos="2593">
          <p15:clr>
            <a:srgbClr val="9FCC3B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+Left Picture 70:30 |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9455500-0D72-49BE-B0EA-FEC543865D1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642762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0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9455500-0D72-49BE-B0EA-FEC543865D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CE740D4-1B25-4367-9B11-A14AE3B9F6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30179" y="341295"/>
            <a:ext cx="4725592" cy="276999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2BB489-86A6-4D41-BFFD-2AD8081D3C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30178" y="1369219"/>
            <a:ext cx="5481638" cy="344328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extplatzhalter 16">
            <a:extLst>
              <a:ext uri="{FF2B5EF4-FFF2-40B4-BE49-F238E27FC236}">
                <a16:creationId xmlns:a16="http://schemas.microsoft.com/office/drawing/2014/main" id="{578603F6-7C4F-4597-A4FD-FC0CC443EB50}"/>
              </a:ext>
            </a:extLst>
          </p:cNvPr>
          <p:cNvSpPr txBox="1">
            <a:spLocks/>
          </p:cNvSpPr>
          <p:nvPr/>
        </p:nvSpPr>
        <p:spPr bwMode="gray">
          <a:xfrm>
            <a:off x="3330179" y="956104"/>
            <a:ext cx="248967" cy="216000"/>
          </a:xfrm>
          <a:prstGeom prst="rect">
            <a:avLst/>
          </a:prstGeom>
          <a:noFill/>
        </p:spPr>
        <p:txBody>
          <a:bodyPr vert="horz" lIns="0" tIns="108000" rIns="0" bIns="0" rtlCol="0" anchor="b">
            <a:no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783" rtl="0" eaLnBrk="1" latinLnBrk="0" hangingPunct="1">
              <a:lnSpc>
                <a:spcPct val="100000"/>
              </a:lnSpc>
              <a:spcBef>
                <a:spcPts val="288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—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D19C654C-870F-42D3-963E-6FAF8793D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049191" cy="5143500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87F85E65-3263-4877-BCCC-76476DAFF9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30179" y="112940"/>
            <a:ext cx="4725591" cy="115416"/>
          </a:xfrm>
        </p:spPr>
        <p:txBody>
          <a:bodyPr wrap="square">
            <a:spAutoFit/>
          </a:bodyPr>
          <a:lstStyle>
            <a:lvl1pPr>
              <a:defRPr sz="75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800" b="0" i="1">
                <a:solidFill>
                  <a:schemeClr val="accent1"/>
                </a:solidFill>
              </a:defRPr>
            </a:lvl2pPr>
            <a:lvl3pPr>
              <a:defRPr sz="1800" b="0" i="1">
                <a:solidFill>
                  <a:schemeClr val="accent1"/>
                </a:solidFill>
              </a:defRPr>
            </a:lvl3pPr>
            <a:lvl4pPr>
              <a:defRPr sz="1800" b="0" i="1">
                <a:solidFill>
                  <a:schemeClr val="accent1"/>
                </a:solidFill>
              </a:defRPr>
            </a:lvl4pPr>
            <a:lvl5pPr>
              <a:defRPr sz="18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C13E533-9514-420C-8A7A-F21E902AF99C}"/>
              </a:ext>
            </a:extLst>
          </p:cNvPr>
          <p:cNvSpPr>
            <a:spLocks noGrp="1"/>
          </p:cNvSpPr>
          <p:nvPr>
            <p:ph type="subTitle" idx="18"/>
          </p:nvPr>
        </p:nvSpPr>
        <p:spPr>
          <a:xfrm>
            <a:off x="3330179" y="618295"/>
            <a:ext cx="4725592" cy="276999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800" b="0" i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225"/>
              </a:spcAft>
              <a:buNone/>
              <a:defRPr sz="1800" i="1">
                <a:solidFill>
                  <a:schemeClr val="accent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14A6532-E707-4273-929F-55246ED67DD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330178" y="4885343"/>
            <a:ext cx="3402000" cy="115416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First name last name, date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30BEC12-6DD5-4297-9705-0E2DC0E293F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8AD48C63-78A6-4D64-B839-4870EFEB9C1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009998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2797">
          <p15:clr>
            <a:srgbClr val="9FCC3B"/>
          </p15:clr>
        </p15:guide>
        <p15:guide id="4" orient="horz" pos="1139">
          <p15:clr>
            <a:srgbClr val="9FCC3B"/>
          </p15:clr>
        </p15:guide>
        <p15:guide id="5" orient="horz" pos="4042">
          <p15:clr>
            <a:srgbClr val="9FCC3B"/>
          </p15:clr>
        </p15:guide>
        <p15:guide id="6" orient="horz" pos="2591">
          <p15:clr>
            <a:srgbClr val="9FCC3B"/>
          </p15:clr>
        </p15:guide>
        <p15:guide id="7" pos="5042">
          <p15:clr>
            <a:srgbClr val="9FCC3B"/>
          </p15:clr>
        </p15:guide>
        <p15:guide id="9" pos="7401">
          <p15:clr>
            <a:srgbClr val="9FCC3B"/>
          </p15:clr>
        </p15:guide>
        <p15:guide id="10" pos="2570">
          <p15:clr>
            <a:srgbClr val="9FCC3B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+Right Picture 30:70 | Color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BDDA3F9-0962-4DA0-9ECA-CA40E1A8F1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231317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4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BDDA3F9-0962-4DA0-9ECA-CA40E1A8F1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70B197B9-96B0-40B5-82E6-8758DA0817A0}"/>
              </a:ext>
            </a:extLst>
          </p:cNvPr>
          <p:cNvSpPr/>
          <p:nvPr/>
        </p:nvSpPr>
        <p:spPr>
          <a:xfrm>
            <a:off x="3059907" y="0"/>
            <a:ext cx="6085285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atin typeface="+mn-l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E740D4-1B25-4367-9B11-A14AE3B9F6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186" y="341295"/>
            <a:ext cx="2457449" cy="276999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2BB489-86A6-4D41-BFFD-2AD8081D3C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2186" y="1369219"/>
            <a:ext cx="2457449" cy="344328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extplatzhalter 16">
            <a:extLst>
              <a:ext uri="{FF2B5EF4-FFF2-40B4-BE49-F238E27FC236}">
                <a16:creationId xmlns:a16="http://schemas.microsoft.com/office/drawing/2014/main" id="{578603F6-7C4F-4597-A4FD-FC0CC443EB50}"/>
              </a:ext>
            </a:extLst>
          </p:cNvPr>
          <p:cNvSpPr txBox="1">
            <a:spLocks/>
          </p:cNvSpPr>
          <p:nvPr/>
        </p:nvSpPr>
        <p:spPr bwMode="gray">
          <a:xfrm>
            <a:off x="332185" y="956104"/>
            <a:ext cx="275539" cy="216000"/>
          </a:xfrm>
          <a:prstGeom prst="rect">
            <a:avLst/>
          </a:prstGeom>
          <a:noFill/>
        </p:spPr>
        <p:txBody>
          <a:bodyPr vert="horz" lIns="0" tIns="108000" rIns="0" bIns="0" rtlCol="0" anchor="b">
            <a:no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783" rtl="0" eaLnBrk="1" latinLnBrk="0" hangingPunct="1">
              <a:lnSpc>
                <a:spcPct val="100000"/>
              </a:lnSpc>
              <a:spcBef>
                <a:spcPts val="288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—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B9054DD3-A65F-4BC7-8489-2DD6A3476D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5619" y="0"/>
            <a:ext cx="6098381" cy="5143500"/>
          </a:xfrm>
          <a:custGeom>
            <a:avLst/>
            <a:gdLst>
              <a:gd name="connsiteX0" fmla="*/ 7554360 w 8131175"/>
              <a:gd name="connsiteY0" fmla="*/ 766683 h 6858000"/>
              <a:gd name="connsiteX1" fmla="*/ 7544507 w 8131175"/>
              <a:gd name="connsiteY1" fmla="*/ 776535 h 6858000"/>
              <a:gd name="connsiteX2" fmla="*/ 7554360 w 8131175"/>
              <a:gd name="connsiteY2" fmla="*/ 786388 h 6858000"/>
              <a:gd name="connsiteX3" fmla="*/ 7564214 w 8131175"/>
              <a:gd name="connsiteY3" fmla="*/ 776535 h 6858000"/>
              <a:gd name="connsiteX4" fmla="*/ 7554360 w 8131175"/>
              <a:gd name="connsiteY4" fmla="*/ 766683 h 6858000"/>
              <a:gd name="connsiteX5" fmla="*/ 7372953 w 8131175"/>
              <a:gd name="connsiteY5" fmla="*/ 690142 h 6858000"/>
              <a:gd name="connsiteX6" fmla="*/ 7388261 w 8131175"/>
              <a:gd name="connsiteY6" fmla="*/ 692078 h 6858000"/>
              <a:gd name="connsiteX7" fmla="*/ 7389668 w 8131175"/>
              <a:gd name="connsiteY7" fmla="*/ 692078 h 6858000"/>
              <a:gd name="connsiteX8" fmla="*/ 7388261 w 8131175"/>
              <a:gd name="connsiteY8" fmla="*/ 693485 h 6858000"/>
              <a:gd name="connsiteX9" fmla="*/ 7368554 w 8131175"/>
              <a:gd name="connsiteY9" fmla="*/ 710377 h 6858000"/>
              <a:gd name="connsiteX10" fmla="*/ 7351662 w 8131175"/>
              <a:gd name="connsiteY10" fmla="*/ 714599 h 6858000"/>
              <a:gd name="connsiteX11" fmla="*/ 7337586 w 8131175"/>
              <a:gd name="connsiteY11" fmla="*/ 711785 h 6858000"/>
              <a:gd name="connsiteX12" fmla="*/ 7354478 w 8131175"/>
              <a:gd name="connsiteY12" fmla="*/ 697709 h 6858000"/>
              <a:gd name="connsiteX13" fmla="*/ 7372953 w 8131175"/>
              <a:gd name="connsiteY13" fmla="*/ 690142 h 6858000"/>
              <a:gd name="connsiteX14" fmla="*/ 7399521 w 8131175"/>
              <a:gd name="connsiteY14" fmla="*/ 609028 h 6858000"/>
              <a:gd name="connsiteX15" fmla="*/ 7412190 w 8131175"/>
              <a:gd name="connsiteY15" fmla="*/ 618881 h 6858000"/>
              <a:gd name="connsiteX16" fmla="*/ 7399521 w 8131175"/>
              <a:gd name="connsiteY16" fmla="*/ 628735 h 6858000"/>
              <a:gd name="connsiteX17" fmla="*/ 7386853 w 8131175"/>
              <a:gd name="connsiteY17" fmla="*/ 618881 h 6858000"/>
              <a:gd name="connsiteX18" fmla="*/ 7399521 w 8131175"/>
              <a:gd name="connsiteY18" fmla="*/ 609028 h 6858000"/>
              <a:gd name="connsiteX19" fmla="*/ 7445974 w 8131175"/>
              <a:gd name="connsiteY19" fmla="*/ 530201 h 6858000"/>
              <a:gd name="connsiteX20" fmla="*/ 7612073 w 8131175"/>
              <a:gd name="connsiteY20" fmla="*/ 606213 h 6858000"/>
              <a:gd name="connsiteX21" fmla="*/ 7616296 w 8131175"/>
              <a:gd name="connsiteY21" fmla="*/ 679408 h 6858000"/>
              <a:gd name="connsiteX22" fmla="*/ 7562806 w 8131175"/>
              <a:gd name="connsiteY22" fmla="*/ 676593 h 6858000"/>
              <a:gd name="connsiteX23" fmla="*/ 7567030 w 8131175"/>
              <a:gd name="connsiteY23" fmla="*/ 666741 h 6858000"/>
              <a:gd name="connsiteX24" fmla="*/ 7574067 w 8131175"/>
              <a:gd name="connsiteY24" fmla="*/ 665332 h 6858000"/>
              <a:gd name="connsiteX25" fmla="*/ 7575475 w 8131175"/>
              <a:gd name="connsiteY25" fmla="*/ 661110 h 6858000"/>
              <a:gd name="connsiteX26" fmla="*/ 7558584 w 8131175"/>
              <a:gd name="connsiteY26" fmla="*/ 655479 h 6858000"/>
              <a:gd name="connsiteX27" fmla="*/ 7537468 w 8131175"/>
              <a:gd name="connsiteY27" fmla="*/ 656888 h 6858000"/>
              <a:gd name="connsiteX28" fmla="*/ 7529022 w 8131175"/>
              <a:gd name="connsiteY28" fmla="*/ 654071 h 6858000"/>
              <a:gd name="connsiteX29" fmla="*/ 7526207 w 8131175"/>
              <a:gd name="connsiteY29" fmla="*/ 649849 h 6858000"/>
              <a:gd name="connsiteX30" fmla="*/ 7529022 w 8131175"/>
              <a:gd name="connsiteY30" fmla="*/ 641403 h 6858000"/>
              <a:gd name="connsiteX31" fmla="*/ 7537468 w 8131175"/>
              <a:gd name="connsiteY31" fmla="*/ 639996 h 6858000"/>
              <a:gd name="connsiteX32" fmla="*/ 7538877 w 8131175"/>
              <a:gd name="connsiteY32" fmla="*/ 635772 h 6858000"/>
              <a:gd name="connsiteX33" fmla="*/ 7521985 w 8131175"/>
              <a:gd name="connsiteY33" fmla="*/ 630142 h 6858000"/>
              <a:gd name="connsiteX34" fmla="*/ 7500871 w 8131175"/>
              <a:gd name="connsiteY34" fmla="*/ 631550 h 6858000"/>
              <a:gd name="connsiteX35" fmla="*/ 7492425 w 8131175"/>
              <a:gd name="connsiteY35" fmla="*/ 628735 h 6858000"/>
              <a:gd name="connsiteX36" fmla="*/ 7489610 w 8131175"/>
              <a:gd name="connsiteY36" fmla="*/ 624511 h 6858000"/>
              <a:gd name="connsiteX37" fmla="*/ 7492425 w 8131175"/>
              <a:gd name="connsiteY37" fmla="*/ 614659 h 6858000"/>
              <a:gd name="connsiteX38" fmla="*/ 7500871 w 8131175"/>
              <a:gd name="connsiteY38" fmla="*/ 613250 h 6858000"/>
              <a:gd name="connsiteX39" fmla="*/ 7502278 w 8131175"/>
              <a:gd name="connsiteY39" fmla="*/ 609028 h 6858000"/>
              <a:gd name="connsiteX40" fmla="*/ 7485386 w 8131175"/>
              <a:gd name="connsiteY40" fmla="*/ 603397 h 6858000"/>
              <a:gd name="connsiteX41" fmla="*/ 7464272 w 8131175"/>
              <a:gd name="connsiteY41" fmla="*/ 604804 h 6858000"/>
              <a:gd name="connsiteX42" fmla="*/ 7460050 w 8131175"/>
              <a:gd name="connsiteY42" fmla="*/ 603397 h 6858000"/>
              <a:gd name="connsiteX43" fmla="*/ 7458642 w 8131175"/>
              <a:gd name="connsiteY43" fmla="*/ 600582 h 6858000"/>
              <a:gd name="connsiteX44" fmla="*/ 7460050 w 8131175"/>
              <a:gd name="connsiteY44" fmla="*/ 593545 h 6858000"/>
              <a:gd name="connsiteX45" fmla="*/ 7461457 w 8131175"/>
              <a:gd name="connsiteY45" fmla="*/ 573836 h 6858000"/>
              <a:gd name="connsiteX46" fmla="*/ 7448787 w 8131175"/>
              <a:gd name="connsiteY46" fmla="*/ 551315 h 6858000"/>
              <a:gd name="connsiteX47" fmla="*/ 7444565 w 8131175"/>
              <a:gd name="connsiteY47" fmla="*/ 549907 h 6858000"/>
              <a:gd name="connsiteX48" fmla="*/ 7443158 w 8131175"/>
              <a:gd name="connsiteY48" fmla="*/ 555537 h 6858000"/>
              <a:gd name="connsiteX49" fmla="*/ 7417821 w 8131175"/>
              <a:gd name="connsiteY49" fmla="*/ 589321 h 6858000"/>
              <a:gd name="connsiteX50" fmla="*/ 7409375 w 8131175"/>
              <a:gd name="connsiteY50" fmla="*/ 589321 h 6858000"/>
              <a:gd name="connsiteX51" fmla="*/ 7403744 w 8131175"/>
              <a:gd name="connsiteY51" fmla="*/ 589321 h 6858000"/>
              <a:gd name="connsiteX52" fmla="*/ 7400929 w 8131175"/>
              <a:gd name="connsiteY52" fmla="*/ 589321 h 6858000"/>
              <a:gd name="connsiteX53" fmla="*/ 7395298 w 8131175"/>
              <a:gd name="connsiteY53" fmla="*/ 589321 h 6858000"/>
              <a:gd name="connsiteX54" fmla="*/ 7386853 w 8131175"/>
              <a:gd name="connsiteY54" fmla="*/ 590728 h 6858000"/>
              <a:gd name="connsiteX55" fmla="*/ 7367145 w 8131175"/>
              <a:gd name="connsiteY55" fmla="*/ 610435 h 6858000"/>
              <a:gd name="connsiteX56" fmla="*/ 7367145 w 8131175"/>
              <a:gd name="connsiteY56" fmla="*/ 613250 h 6858000"/>
              <a:gd name="connsiteX57" fmla="*/ 7364330 w 8131175"/>
              <a:gd name="connsiteY57" fmla="*/ 617474 h 6858000"/>
              <a:gd name="connsiteX58" fmla="*/ 7353069 w 8131175"/>
              <a:gd name="connsiteY58" fmla="*/ 618881 h 6858000"/>
              <a:gd name="connsiteX59" fmla="*/ 7310841 w 8131175"/>
              <a:gd name="connsiteY59" fmla="*/ 607619 h 6858000"/>
              <a:gd name="connsiteX60" fmla="*/ 7308026 w 8131175"/>
              <a:gd name="connsiteY60" fmla="*/ 606213 h 6858000"/>
              <a:gd name="connsiteX61" fmla="*/ 7306618 w 8131175"/>
              <a:gd name="connsiteY61" fmla="*/ 607619 h 6858000"/>
              <a:gd name="connsiteX62" fmla="*/ 7295356 w 8131175"/>
              <a:gd name="connsiteY62" fmla="*/ 637181 h 6858000"/>
              <a:gd name="connsiteX63" fmla="*/ 7315063 w 8131175"/>
              <a:gd name="connsiteY63" fmla="*/ 673778 h 6858000"/>
              <a:gd name="connsiteX64" fmla="*/ 7322101 w 8131175"/>
              <a:gd name="connsiteY64" fmla="*/ 678002 h 6858000"/>
              <a:gd name="connsiteX65" fmla="*/ 7322101 w 8131175"/>
              <a:gd name="connsiteY65" fmla="*/ 675186 h 6858000"/>
              <a:gd name="connsiteX66" fmla="*/ 7324918 w 8131175"/>
              <a:gd name="connsiteY66" fmla="*/ 665332 h 6858000"/>
              <a:gd name="connsiteX67" fmla="*/ 7343216 w 8131175"/>
              <a:gd name="connsiteY67" fmla="*/ 661110 h 6858000"/>
              <a:gd name="connsiteX68" fmla="*/ 7344623 w 8131175"/>
              <a:gd name="connsiteY68" fmla="*/ 662517 h 6858000"/>
              <a:gd name="connsiteX69" fmla="*/ 7357293 w 8131175"/>
              <a:gd name="connsiteY69" fmla="*/ 666741 h 6858000"/>
              <a:gd name="connsiteX70" fmla="*/ 7369961 w 8131175"/>
              <a:gd name="connsiteY70" fmla="*/ 662517 h 6858000"/>
              <a:gd name="connsiteX71" fmla="*/ 7388261 w 8131175"/>
              <a:gd name="connsiteY71" fmla="*/ 662517 h 6858000"/>
              <a:gd name="connsiteX72" fmla="*/ 7391076 w 8131175"/>
              <a:gd name="connsiteY72" fmla="*/ 678002 h 6858000"/>
              <a:gd name="connsiteX73" fmla="*/ 7391076 w 8131175"/>
              <a:gd name="connsiteY73" fmla="*/ 679408 h 6858000"/>
              <a:gd name="connsiteX74" fmla="*/ 7389668 w 8131175"/>
              <a:gd name="connsiteY74" fmla="*/ 679408 h 6858000"/>
              <a:gd name="connsiteX75" fmla="*/ 7355884 w 8131175"/>
              <a:gd name="connsiteY75" fmla="*/ 676593 h 6858000"/>
              <a:gd name="connsiteX76" fmla="*/ 7336177 w 8131175"/>
              <a:gd name="connsiteY76" fmla="*/ 685039 h 6858000"/>
              <a:gd name="connsiteX77" fmla="*/ 7302395 w 8131175"/>
              <a:gd name="connsiteY77" fmla="*/ 692078 h 6858000"/>
              <a:gd name="connsiteX78" fmla="*/ 7281280 w 8131175"/>
              <a:gd name="connsiteY78" fmla="*/ 672371 h 6858000"/>
              <a:gd name="connsiteX79" fmla="*/ 7279873 w 8131175"/>
              <a:gd name="connsiteY79" fmla="*/ 669556 h 6858000"/>
              <a:gd name="connsiteX80" fmla="*/ 7278465 w 8131175"/>
              <a:gd name="connsiteY80" fmla="*/ 673778 h 6858000"/>
              <a:gd name="connsiteX81" fmla="*/ 7286910 w 8131175"/>
              <a:gd name="connsiteY81" fmla="*/ 707561 h 6858000"/>
              <a:gd name="connsiteX82" fmla="*/ 7327733 w 8131175"/>
              <a:gd name="connsiteY82" fmla="*/ 713192 h 6858000"/>
              <a:gd name="connsiteX83" fmla="*/ 7329140 w 8131175"/>
              <a:gd name="connsiteY83" fmla="*/ 711785 h 6858000"/>
              <a:gd name="connsiteX84" fmla="*/ 7329140 w 8131175"/>
              <a:gd name="connsiteY84" fmla="*/ 713192 h 6858000"/>
              <a:gd name="connsiteX85" fmla="*/ 7333362 w 8131175"/>
              <a:gd name="connsiteY85" fmla="*/ 727269 h 6858000"/>
              <a:gd name="connsiteX86" fmla="*/ 7351662 w 8131175"/>
              <a:gd name="connsiteY86" fmla="*/ 739936 h 6858000"/>
              <a:gd name="connsiteX87" fmla="*/ 7374185 w 8131175"/>
              <a:gd name="connsiteY87" fmla="*/ 730084 h 6858000"/>
              <a:gd name="connsiteX88" fmla="*/ 7422043 w 8131175"/>
              <a:gd name="connsiteY88" fmla="*/ 713192 h 6858000"/>
              <a:gd name="connsiteX89" fmla="*/ 7489610 w 8131175"/>
              <a:gd name="connsiteY89" fmla="*/ 786388 h 6858000"/>
              <a:gd name="connsiteX90" fmla="*/ 7495241 w 8131175"/>
              <a:gd name="connsiteY90" fmla="*/ 796242 h 6858000"/>
              <a:gd name="connsiteX91" fmla="*/ 7495241 w 8131175"/>
              <a:gd name="connsiteY91" fmla="*/ 797649 h 6858000"/>
              <a:gd name="connsiteX92" fmla="*/ 7500871 w 8131175"/>
              <a:gd name="connsiteY92" fmla="*/ 801873 h 6858000"/>
              <a:gd name="connsiteX93" fmla="*/ 7503686 w 8131175"/>
              <a:gd name="connsiteY93" fmla="*/ 797649 h 6858000"/>
              <a:gd name="connsiteX94" fmla="*/ 7533246 w 8131175"/>
              <a:gd name="connsiteY94" fmla="*/ 758237 h 6858000"/>
              <a:gd name="connsiteX95" fmla="*/ 7559991 w 8131175"/>
              <a:gd name="connsiteY95" fmla="*/ 754013 h 6858000"/>
              <a:gd name="connsiteX96" fmla="*/ 7562806 w 8131175"/>
              <a:gd name="connsiteY96" fmla="*/ 754013 h 6858000"/>
              <a:gd name="connsiteX97" fmla="*/ 7588143 w 8131175"/>
              <a:gd name="connsiteY97" fmla="*/ 744160 h 6858000"/>
              <a:gd name="connsiteX98" fmla="*/ 7655709 w 8131175"/>
              <a:gd name="connsiteY98" fmla="*/ 718823 h 6858000"/>
              <a:gd name="connsiteX99" fmla="*/ 7665563 w 8131175"/>
              <a:gd name="connsiteY99" fmla="*/ 721638 h 6858000"/>
              <a:gd name="connsiteX100" fmla="*/ 7662748 w 8131175"/>
              <a:gd name="connsiteY100" fmla="*/ 728675 h 6858000"/>
              <a:gd name="connsiteX101" fmla="*/ 7658526 w 8131175"/>
              <a:gd name="connsiteY101" fmla="*/ 730084 h 6858000"/>
              <a:gd name="connsiteX102" fmla="*/ 7576882 w 8131175"/>
              <a:gd name="connsiteY102" fmla="*/ 789205 h 6858000"/>
              <a:gd name="connsiteX103" fmla="*/ 7574067 w 8131175"/>
              <a:gd name="connsiteY103" fmla="*/ 810319 h 6858000"/>
              <a:gd name="connsiteX104" fmla="*/ 7574067 w 8131175"/>
              <a:gd name="connsiteY104" fmla="*/ 820172 h 6858000"/>
              <a:gd name="connsiteX105" fmla="*/ 7547323 w 8131175"/>
              <a:gd name="connsiteY105" fmla="*/ 886330 h 6858000"/>
              <a:gd name="connsiteX106" fmla="*/ 7520576 w 8131175"/>
              <a:gd name="connsiteY106" fmla="*/ 908852 h 6858000"/>
              <a:gd name="connsiteX107" fmla="*/ 7514948 w 8131175"/>
              <a:gd name="connsiteY107" fmla="*/ 914483 h 6858000"/>
              <a:gd name="connsiteX108" fmla="*/ 7509317 w 8131175"/>
              <a:gd name="connsiteY108" fmla="*/ 921520 h 6858000"/>
              <a:gd name="connsiteX109" fmla="*/ 7482571 w 8131175"/>
              <a:gd name="connsiteY109" fmla="*/ 951082 h 6858000"/>
              <a:gd name="connsiteX110" fmla="*/ 7455826 w 8131175"/>
              <a:gd name="connsiteY110" fmla="*/ 969380 h 6858000"/>
              <a:gd name="connsiteX111" fmla="*/ 7454420 w 8131175"/>
              <a:gd name="connsiteY111" fmla="*/ 969380 h 6858000"/>
              <a:gd name="connsiteX112" fmla="*/ 7453011 w 8131175"/>
              <a:gd name="connsiteY112" fmla="*/ 967974 h 6858000"/>
              <a:gd name="connsiteX113" fmla="*/ 7467088 w 8131175"/>
              <a:gd name="connsiteY113" fmla="*/ 946858 h 6858000"/>
              <a:gd name="connsiteX114" fmla="*/ 7481164 w 8131175"/>
              <a:gd name="connsiteY114" fmla="*/ 927151 h 6858000"/>
              <a:gd name="connsiteX115" fmla="*/ 7467088 w 8131175"/>
              <a:gd name="connsiteY115" fmla="*/ 932781 h 6858000"/>
              <a:gd name="connsiteX116" fmla="*/ 7453011 w 8131175"/>
              <a:gd name="connsiteY116" fmla="*/ 939821 h 6858000"/>
              <a:gd name="connsiteX117" fmla="*/ 7385444 w 8131175"/>
              <a:gd name="connsiteY117" fmla="*/ 958119 h 6858000"/>
              <a:gd name="connsiteX118" fmla="*/ 7385444 w 8131175"/>
              <a:gd name="connsiteY118" fmla="*/ 955304 h 6858000"/>
              <a:gd name="connsiteX119" fmla="*/ 7405151 w 8131175"/>
              <a:gd name="connsiteY119" fmla="*/ 942636 h 6858000"/>
              <a:gd name="connsiteX120" fmla="*/ 7465679 w 8131175"/>
              <a:gd name="connsiteY120" fmla="*/ 893369 h 6858000"/>
              <a:gd name="connsiteX121" fmla="*/ 7429082 w 8131175"/>
              <a:gd name="connsiteY121" fmla="*/ 866623 h 6858000"/>
              <a:gd name="connsiteX122" fmla="*/ 7368554 w 8131175"/>
              <a:gd name="connsiteY122" fmla="*/ 801873 h 6858000"/>
              <a:gd name="connsiteX123" fmla="*/ 7254535 w 8131175"/>
              <a:gd name="connsiteY123" fmla="*/ 856770 h 6858000"/>
              <a:gd name="connsiteX124" fmla="*/ 7226383 w 8131175"/>
              <a:gd name="connsiteY124" fmla="*/ 749791 h 6858000"/>
              <a:gd name="connsiteX125" fmla="*/ 7445974 w 8131175"/>
              <a:gd name="connsiteY125" fmla="*/ 530201 h 6858000"/>
              <a:gd name="connsiteX126" fmla="*/ 7447381 w 8131175"/>
              <a:gd name="connsiteY126" fmla="*/ 511901 h 6858000"/>
              <a:gd name="connsiteX127" fmla="*/ 7208084 w 8131175"/>
              <a:gd name="connsiteY127" fmla="*/ 751198 h 6858000"/>
              <a:gd name="connsiteX128" fmla="*/ 7447381 w 8131175"/>
              <a:gd name="connsiteY128" fmla="*/ 990494 h 6858000"/>
              <a:gd name="connsiteX129" fmla="*/ 7686677 w 8131175"/>
              <a:gd name="connsiteY129" fmla="*/ 751198 h 6858000"/>
              <a:gd name="connsiteX130" fmla="*/ 7447381 w 8131175"/>
              <a:gd name="connsiteY130" fmla="*/ 511901 h 6858000"/>
              <a:gd name="connsiteX131" fmla="*/ 0 w 8131175"/>
              <a:gd name="connsiteY131" fmla="*/ 0 h 6858000"/>
              <a:gd name="connsiteX132" fmla="*/ 8131175 w 8131175"/>
              <a:gd name="connsiteY132" fmla="*/ 0 h 6858000"/>
              <a:gd name="connsiteX133" fmla="*/ 8131175 w 8131175"/>
              <a:gd name="connsiteY133" fmla="*/ 6858000 h 6858000"/>
              <a:gd name="connsiteX134" fmla="*/ 0 w 8131175"/>
              <a:gd name="connsiteY13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</a:cxnLst>
            <a:rect l="l" t="t" r="r" b="b"/>
            <a:pathLst>
              <a:path w="8131175" h="6858000">
                <a:moveTo>
                  <a:pt x="7554360" y="766683"/>
                </a:moveTo>
                <a:cubicBezTo>
                  <a:pt x="7548729" y="766683"/>
                  <a:pt x="7544507" y="770905"/>
                  <a:pt x="7544507" y="776535"/>
                </a:cubicBezTo>
                <a:cubicBezTo>
                  <a:pt x="7544507" y="782166"/>
                  <a:pt x="7548729" y="786388"/>
                  <a:pt x="7554360" y="786388"/>
                </a:cubicBezTo>
                <a:cubicBezTo>
                  <a:pt x="7559991" y="784981"/>
                  <a:pt x="7564214" y="780759"/>
                  <a:pt x="7564214" y="776535"/>
                </a:cubicBezTo>
                <a:cubicBezTo>
                  <a:pt x="7564214" y="770905"/>
                  <a:pt x="7559991" y="766683"/>
                  <a:pt x="7554360" y="766683"/>
                </a:cubicBezTo>
                <a:close/>
                <a:moveTo>
                  <a:pt x="7372953" y="690142"/>
                </a:moveTo>
                <a:cubicBezTo>
                  <a:pt x="7378407" y="689262"/>
                  <a:pt x="7383334" y="689966"/>
                  <a:pt x="7388261" y="692078"/>
                </a:cubicBezTo>
                <a:lnTo>
                  <a:pt x="7389668" y="692078"/>
                </a:lnTo>
                <a:cubicBezTo>
                  <a:pt x="7389668" y="692078"/>
                  <a:pt x="7389668" y="693485"/>
                  <a:pt x="7388261" y="693485"/>
                </a:cubicBezTo>
                <a:cubicBezTo>
                  <a:pt x="7385444" y="699116"/>
                  <a:pt x="7379815" y="706155"/>
                  <a:pt x="7368554" y="710377"/>
                </a:cubicBezTo>
                <a:cubicBezTo>
                  <a:pt x="7361515" y="713192"/>
                  <a:pt x="7357293" y="714599"/>
                  <a:pt x="7351662" y="714599"/>
                </a:cubicBezTo>
                <a:cubicBezTo>
                  <a:pt x="7344623" y="714599"/>
                  <a:pt x="7338993" y="713192"/>
                  <a:pt x="7337586" y="711785"/>
                </a:cubicBezTo>
                <a:cubicBezTo>
                  <a:pt x="7337586" y="711785"/>
                  <a:pt x="7344623" y="704746"/>
                  <a:pt x="7354478" y="697709"/>
                </a:cubicBezTo>
                <a:cubicBezTo>
                  <a:pt x="7361516" y="693486"/>
                  <a:pt x="7367498" y="691022"/>
                  <a:pt x="7372953" y="690142"/>
                </a:cubicBezTo>
                <a:close/>
                <a:moveTo>
                  <a:pt x="7399521" y="609028"/>
                </a:moveTo>
                <a:cubicBezTo>
                  <a:pt x="7406560" y="609028"/>
                  <a:pt x="7412190" y="613250"/>
                  <a:pt x="7412190" y="618881"/>
                </a:cubicBezTo>
                <a:cubicBezTo>
                  <a:pt x="7412190" y="624511"/>
                  <a:pt x="7406560" y="628735"/>
                  <a:pt x="7399521" y="628735"/>
                </a:cubicBezTo>
                <a:cubicBezTo>
                  <a:pt x="7392483" y="628735"/>
                  <a:pt x="7386853" y="624511"/>
                  <a:pt x="7386853" y="618881"/>
                </a:cubicBezTo>
                <a:cubicBezTo>
                  <a:pt x="7386853" y="613250"/>
                  <a:pt x="7392483" y="609028"/>
                  <a:pt x="7399521" y="609028"/>
                </a:cubicBezTo>
                <a:close/>
                <a:moveTo>
                  <a:pt x="7445974" y="530201"/>
                </a:moveTo>
                <a:cubicBezTo>
                  <a:pt x="7512131" y="530201"/>
                  <a:pt x="7571252" y="559761"/>
                  <a:pt x="7612073" y="606213"/>
                </a:cubicBezTo>
                <a:cubicBezTo>
                  <a:pt x="7637410" y="638588"/>
                  <a:pt x="7633188" y="665332"/>
                  <a:pt x="7616296" y="679408"/>
                </a:cubicBezTo>
                <a:cubicBezTo>
                  <a:pt x="7595183" y="694893"/>
                  <a:pt x="7567030" y="689263"/>
                  <a:pt x="7562806" y="676593"/>
                </a:cubicBezTo>
                <a:cubicBezTo>
                  <a:pt x="7561399" y="669556"/>
                  <a:pt x="7567030" y="666741"/>
                  <a:pt x="7567030" y="666741"/>
                </a:cubicBezTo>
                <a:cubicBezTo>
                  <a:pt x="7568436" y="665332"/>
                  <a:pt x="7571252" y="665332"/>
                  <a:pt x="7574067" y="665332"/>
                </a:cubicBezTo>
                <a:cubicBezTo>
                  <a:pt x="7578291" y="665332"/>
                  <a:pt x="7578291" y="662517"/>
                  <a:pt x="7575475" y="661110"/>
                </a:cubicBezTo>
                <a:cubicBezTo>
                  <a:pt x="7571252" y="658295"/>
                  <a:pt x="7564214" y="655479"/>
                  <a:pt x="7558584" y="655479"/>
                </a:cubicBezTo>
                <a:cubicBezTo>
                  <a:pt x="7550138" y="655479"/>
                  <a:pt x="7537468" y="656888"/>
                  <a:pt x="7537468" y="656888"/>
                </a:cubicBezTo>
                <a:cubicBezTo>
                  <a:pt x="7534653" y="656888"/>
                  <a:pt x="7531839" y="655479"/>
                  <a:pt x="7529022" y="654071"/>
                </a:cubicBezTo>
                <a:cubicBezTo>
                  <a:pt x="7527615" y="652664"/>
                  <a:pt x="7526207" y="651256"/>
                  <a:pt x="7526207" y="649849"/>
                </a:cubicBezTo>
                <a:cubicBezTo>
                  <a:pt x="7524800" y="642811"/>
                  <a:pt x="7529022" y="641403"/>
                  <a:pt x="7529022" y="641403"/>
                </a:cubicBezTo>
                <a:cubicBezTo>
                  <a:pt x="7530431" y="639996"/>
                  <a:pt x="7534653" y="638588"/>
                  <a:pt x="7537468" y="639996"/>
                </a:cubicBezTo>
                <a:cubicBezTo>
                  <a:pt x="7541692" y="639996"/>
                  <a:pt x="7541692" y="637181"/>
                  <a:pt x="7538877" y="635772"/>
                </a:cubicBezTo>
                <a:cubicBezTo>
                  <a:pt x="7534653" y="632957"/>
                  <a:pt x="7527615" y="630142"/>
                  <a:pt x="7521985" y="630142"/>
                </a:cubicBezTo>
                <a:cubicBezTo>
                  <a:pt x="7513539" y="630142"/>
                  <a:pt x="7500871" y="631550"/>
                  <a:pt x="7500871" y="631550"/>
                </a:cubicBezTo>
                <a:cubicBezTo>
                  <a:pt x="7498056" y="631550"/>
                  <a:pt x="7495241" y="630142"/>
                  <a:pt x="7492425" y="628735"/>
                </a:cubicBezTo>
                <a:cubicBezTo>
                  <a:pt x="7491017" y="627326"/>
                  <a:pt x="7489610" y="625920"/>
                  <a:pt x="7489610" y="624511"/>
                </a:cubicBezTo>
                <a:cubicBezTo>
                  <a:pt x="7488201" y="617474"/>
                  <a:pt x="7492425" y="614659"/>
                  <a:pt x="7492425" y="614659"/>
                </a:cubicBezTo>
                <a:cubicBezTo>
                  <a:pt x="7493832" y="613250"/>
                  <a:pt x="7496647" y="611843"/>
                  <a:pt x="7500871" y="613250"/>
                </a:cubicBezTo>
                <a:cubicBezTo>
                  <a:pt x="7505093" y="613250"/>
                  <a:pt x="7505093" y="610435"/>
                  <a:pt x="7502278" y="609028"/>
                </a:cubicBezTo>
                <a:cubicBezTo>
                  <a:pt x="7498056" y="606213"/>
                  <a:pt x="7491017" y="603397"/>
                  <a:pt x="7485386" y="603397"/>
                </a:cubicBezTo>
                <a:cubicBezTo>
                  <a:pt x="7476940" y="603397"/>
                  <a:pt x="7464272" y="604804"/>
                  <a:pt x="7464272" y="604804"/>
                </a:cubicBezTo>
                <a:cubicBezTo>
                  <a:pt x="7462864" y="604804"/>
                  <a:pt x="7460050" y="604804"/>
                  <a:pt x="7460050" y="603397"/>
                </a:cubicBezTo>
                <a:cubicBezTo>
                  <a:pt x="7458642" y="601989"/>
                  <a:pt x="7458642" y="601989"/>
                  <a:pt x="7458642" y="600582"/>
                </a:cubicBezTo>
                <a:cubicBezTo>
                  <a:pt x="7458642" y="599174"/>
                  <a:pt x="7458642" y="596358"/>
                  <a:pt x="7460050" y="593545"/>
                </a:cubicBezTo>
                <a:cubicBezTo>
                  <a:pt x="7461457" y="587912"/>
                  <a:pt x="7462864" y="582282"/>
                  <a:pt x="7461457" y="573836"/>
                </a:cubicBezTo>
                <a:cubicBezTo>
                  <a:pt x="7460050" y="558353"/>
                  <a:pt x="7451604" y="552722"/>
                  <a:pt x="7448787" y="551315"/>
                </a:cubicBezTo>
                <a:cubicBezTo>
                  <a:pt x="7445974" y="549907"/>
                  <a:pt x="7444565" y="549907"/>
                  <a:pt x="7444565" y="549907"/>
                </a:cubicBezTo>
                <a:cubicBezTo>
                  <a:pt x="7444565" y="549907"/>
                  <a:pt x="7443158" y="552722"/>
                  <a:pt x="7443158" y="555537"/>
                </a:cubicBezTo>
                <a:cubicBezTo>
                  <a:pt x="7441750" y="566799"/>
                  <a:pt x="7440343" y="589321"/>
                  <a:pt x="7417821" y="589321"/>
                </a:cubicBezTo>
                <a:cubicBezTo>
                  <a:pt x="7415005" y="589321"/>
                  <a:pt x="7412190" y="589321"/>
                  <a:pt x="7409375" y="589321"/>
                </a:cubicBezTo>
                <a:cubicBezTo>
                  <a:pt x="7407966" y="589321"/>
                  <a:pt x="7405151" y="589321"/>
                  <a:pt x="7403744" y="589321"/>
                </a:cubicBezTo>
                <a:cubicBezTo>
                  <a:pt x="7402336" y="589321"/>
                  <a:pt x="7402336" y="589321"/>
                  <a:pt x="7400929" y="589321"/>
                </a:cubicBezTo>
                <a:cubicBezTo>
                  <a:pt x="7399521" y="589321"/>
                  <a:pt x="7396707" y="589321"/>
                  <a:pt x="7395298" y="589321"/>
                </a:cubicBezTo>
                <a:cubicBezTo>
                  <a:pt x="7392483" y="589321"/>
                  <a:pt x="7389668" y="589321"/>
                  <a:pt x="7386853" y="590728"/>
                </a:cubicBezTo>
                <a:cubicBezTo>
                  <a:pt x="7375591" y="593545"/>
                  <a:pt x="7368554" y="600582"/>
                  <a:pt x="7367145" y="610435"/>
                </a:cubicBezTo>
                <a:cubicBezTo>
                  <a:pt x="7367145" y="611843"/>
                  <a:pt x="7367145" y="611843"/>
                  <a:pt x="7367145" y="613250"/>
                </a:cubicBezTo>
                <a:cubicBezTo>
                  <a:pt x="7367145" y="614659"/>
                  <a:pt x="7367145" y="617474"/>
                  <a:pt x="7364330" y="617474"/>
                </a:cubicBezTo>
                <a:cubicBezTo>
                  <a:pt x="7364330" y="617474"/>
                  <a:pt x="7360108" y="618881"/>
                  <a:pt x="7353069" y="618881"/>
                </a:cubicBezTo>
                <a:cubicBezTo>
                  <a:pt x="7327733" y="621696"/>
                  <a:pt x="7317879" y="611843"/>
                  <a:pt x="7310841" y="607619"/>
                </a:cubicBezTo>
                <a:cubicBezTo>
                  <a:pt x="7309433" y="607619"/>
                  <a:pt x="7308026" y="606213"/>
                  <a:pt x="7308026" y="606213"/>
                </a:cubicBezTo>
                <a:cubicBezTo>
                  <a:pt x="7308026" y="606213"/>
                  <a:pt x="7308026" y="606213"/>
                  <a:pt x="7306618" y="607619"/>
                </a:cubicBezTo>
                <a:cubicBezTo>
                  <a:pt x="7302395" y="611843"/>
                  <a:pt x="7295356" y="624511"/>
                  <a:pt x="7295356" y="637181"/>
                </a:cubicBezTo>
                <a:cubicBezTo>
                  <a:pt x="7296765" y="658295"/>
                  <a:pt x="7310841" y="670963"/>
                  <a:pt x="7315063" y="673778"/>
                </a:cubicBezTo>
                <a:cubicBezTo>
                  <a:pt x="7319287" y="676593"/>
                  <a:pt x="7322101" y="678002"/>
                  <a:pt x="7322101" y="678002"/>
                </a:cubicBezTo>
                <a:cubicBezTo>
                  <a:pt x="7322101" y="678002"/>
                  <a:pt x="7322101" y="676593"/>
                  <a:pt x="7322101" y="675186"/>
                </a:cubicBezTo>
                <a:cubicBezTo>
                  <a:pt x="7322101" y="672371"/>
                  <a:pt x="7322101" y="669556"/>
                  <a:pt x="7324918" y="665332"/>
                </a:cubicBezTo>
                <a:cubicBezTo>
                  <a:pt x="7330547" y="655479"/>
                  <a:pt x="7338993" y="659701"/>
                  <a:pt x="7343216" y="661110"/>
                </a:cubicBezTo>
                <a:cubicBezTo>
                  <a:pt x="7344623" y="661110"/>
                  <a:pt x="7344623" y="661110"/>
                  <a:pt x="7344623" y="662517"/>
                </a:cubicBezTo>
                <a:cubicBezTo>
                  <a:pt x="7348847" y="663925"/>
                  <a:pt x="7353069" y="666741"/>
                  <a:pt x="7357293" y="666741"/>
                </a:cubicBezTo>
                <a:cubicBezTo>
                  <a:pt x="7361515" y="666741"/>
                  <a:pt x="7367145" y="663925"/>
                  <a:pt x="7369961" y="662517"/>
                </a:cubicBezTo>
                <a:cubicBezTo>
                  <a:pt x="7377000" y="659701"/>
                  <a:pt x="7384037" y="658295"/>
                  <a:pt x="7388261" y="662517"/>
                </a:cubicBezTo>
                <a:cubicBezTo>
                  <a:pt x="7392483" y="666741"/>
                  <a:pt x="7391076" y="676593"/>
                  <a:pt x="7391076" y="678002"/>
                </a:cubicBezTo>
                <a:lnTo>
                  <a:pt x="7391076" y="679408"/>
                </a:lnTo>
                <a:lnTo>
                  <a:pt x="7389668" y="679408"/>
                </a:lnTo>
                <a:cubicBezTo>
                  <a:pt x="7374185" y="673778"/>
                  <a:pt x="7368554" y="675186"/>
                  <a:pt x="7355884" y="676593"/>
                </a:cubicBezTo>
                <a:cubicBezTo>
                  <a:pt x="7348847" y="678002"/>
                  <a:pt x="7341808" y="682224"/>
                  <a:pt x="7336177" y="685039"/>
                </a:cubicBezTo>
                <a:cubicBezTo>
                  <a:pt x="7323509" y="692078"/>
                  <a:pt x="7317879" y="697709"/>
                  <a:pt x="7302395" y="692078"/>
                </a:cubicBezTo>
                <a:cubicBezTo>
                  <a:pt x="7288319" y="686448"/>
                  <a:pt x="7284095" y="678002"/>
                  <a:pt x="7281280" y="672371"/>
                </a:cubicBezTo>
                <a:cubicBezTo>
                  <a:pt x="7279873" y="670963"/>
                  <a:pt x="7279873" y="669556"/>
                  <a:pt x="7279873" y="669556"/>
                </a:cubicBezTo>
                <a:cubicBezTo>
                  <a:pt x="7279873" y="669556"/>
                  <a:pt x="7278465" y="670963"/>
                  <a:pt x="7278465" y="673778"/>
                </a:cubicBezTo>
                <a:cubicBezTo>
                  <a:pt x="7275649" y="680817"/>
                  <a:pt x="7275649" y="694893"/>
                  <a:pt x="7286910" y="707561"/>
                </a:cubicBezTo>
                <a:cubicBezTo>
                  <a:pt x="7302395" y="725860"/>
                  <a:pt x="7317879" y="718823"/>
                  <a:pt x="7327733" y="713192"/>
                </a:cubicBezTo>
                <a:lnTo>
                  <a:pt x="7329140" y="711785"/>
                </a:lnTo>
                <a:lnTo>
                  <a:pt x="7329140" y="713192"/>
                </a:lnTo>
                <a:cubicBezTo>
                  <a:pt x="7329140" y="716007"/>
                  <a:pt x="7330547" y="721638"/>
                  <a:pt x="7333362" y="727269"/>
                </a:cubicBezTo>
                <a:cubicBezTo>
                  <a:pt x="7336177" y="732899"/>
                  <a:pt x="7343216" y="739936"/>
                  <a:pt x="7351662" y="739936"/>
                </a:cubicBezTo>
                <a:cubicBezTo>
                  <a:pt x="7357293" y="739936"/>
                  <a:pt x="7365739" y="735714"/>
                  <a:pt x="7374185" y="730084"/>
                </a:cubicBezTo>
                <a:cubicBezTo>
                  <a:pt x="7389668" y="721638"/>
                  <a:pt x="7402336" y="710377"/>
                  <a:pt x="7422043" y="713192"/>
                </a:cubicBezTo>
                <a:cubicBezTo>
                  <a:pt x="7453011" y="718823"/>
                  <a:pt x="7478349" y="765274"/>
                  <a:pt x="7489610" y="786388"/>
                </a:cubicBezTo>
                <a:cubicBezTo>
                  <a:pt x="7492425" y="790612"/>
                  <a:pt x="7493832" y="794834"/>
                  <a:pt x="7495241" y="796242"/>
                </a:cubicBezTo>
                <a:cubicBezTo>
                  <a:pt x="7495241" y="796242"/>
                  <a:pt x="7495241" y="796242"/>
                  <a:pt x="7495241" y="797649"/>
                </a:cubicBezTo>
                <a:cubicBezTo>
                  <a:pt x="7496647" y="799058"/>
                  <a:pt x="7499463" y="803280"/>
                  <a:pt x="7500871" y="801873"/>
                </a:cubicBezTo>
                <a:cubicBezTo>
                  <a:pt x="7503686" y="800464"/>
                  <a:pt x="7503686" y="797649"/>
                  <a:pt x="7503686" y="797649"/>
                </a:cubicBezTo>
                <a:cubicBezTo>
                  <a:pt x="7506502" y="772313"/>
                  <a:pt x="7523393" y="762459"/>
                  <a:pt x="7533246" y="758237"/>
                </a:cubicBezTo>
                <a:cubicBezTo>
                  <a:pt x="7543099" y="754013"/>
                  <a:pt x="7552953" y="754013"/>
                  <a:pt x="7559991" y="754013"/>
                </a:cubicBezTo>
                <a:cubicBezTo>
                  <a:pt x="7561399" y="754013"/>
                  <a:pt x="7561399" y="754013"/>
                  <a:pt x="7562806" y="754013"/>
                </a:cubicBezTo>
                <a:cubicBezTo>
                  <a:pt x="7568436" y="754013"/>
                  <a:pt x="7576882" y="749791"/>
                  <a:pt x="7588143" y="744160"/>
                </a:cubicBezTo>
                <a:cubicBezTo>
                  <a:pt x="7605035" y="735714"/>
                  <a:pt x="7627558" y="724453"/>
                  <a:pt x="7655709" y="718823"/>
                </a:cubicBezTo>
                <a:cubicBezTo>
                  <a:pt x="7662748" y="717414"/>
                  <a:pt x="7665563" y="718823"/>
                  <a:pt x="7665563" y="721638"/>
                </a:cubicBezTo>
                <a:cubicBezTo>
                  <a:pt x="7665563" y="723045"/>
                  <a:pt x="7665563" y="727269"/>
                  <a:pt x="7662748" y="728675"/>
                </a:cubicBezTo>
                <a:lnTo>
                  <a:pt x="7658526" y="730084"/>
                </a:lnTo>
                <a:cubicBezTo>
                  <a:pt x="7630373" y="742752"/>
                  <a:pt x="7586737" y="758237"/>
                  <a:pt x="7576882" y="789205"/>
                </a:cubicBezTo>
                <a:cubicBezTo>
                  <a:pt x="7574067" y="794834"/>
                  <a:pt x="7574067" y="801873"/>
                  <a:pt x="7574067" y="810319"/>
                </a:cubicBezTo>
                <a:cubicBezTo>
                  <a:pt x="7574067" y="813134"/>
                  <a:pt x="7574067" y="815949"/>
                  <a:pt x="7574067" y="820172"/>
                </a:cubicBezTo>
                <a:cubicBezTo>
                  <a:pt x="7574067" y="855362"/>
                  <a:pt x="7557175" y="876477"/>
                  <a:pt x="7547323" y="886330"/>
                </a:cubicBezTo>
                <a:cubicBezTo>
                  <a:pt x="7537468" y="896184"/>
                  <a:pt x="7527615" y="904628"/>
                  <a:pt x="7520576" y="908852"/>
                </a:cubicBezTo>
                <a:cubicBezTo>
                  <a:pt x="7517763" y="911668"/>
                  <a:pt x="7514948" y="913074"/>
                  <a:pt x="7514948" y="914483"/>
                </a:cubicBezTo>
                <a:cubicBezTo>
                  <a:pt x="7514948" y="914483"/>
                  <a:pt x="7512131" y="917298"/>
                  <a:pt x="7509317" y="921520"/>
                </a:cubicBezTo>
                <a:cubicBezTo>
                  <a:pt x="7502278" y="929966"/>
                  <a:pt x="7492425" y="942636"/>
                  <a:pt x="7482571" y="951082"/>
                </a:cubicBezTo>
                <a:cubicBezTo>
                  <a:pt x="7472718" y="960934"/>
                  <a:pt x="7460050" y="969380"/>
                  <a:pt x="7455826" y="969380"/>
                </a:cubicBezTo>
                <a:cubicBezTo>
                  <a:pt x="7454420" y="969380"/>
                  <a:pt x="7454420" y="969380"/>
                  <a:pt x="7454420" y="969380"/>
                </a:cubicBezTo>
                <a:cubicBezTo>
                  <a:pt x="7454420" y="969380"/>
                  <a:pt x="7453011" y="967974"/>
                  <a:pt x="7453011" y="967974"/>
                </a:cubicBezTo>
                <a:cubicBezTo>
                  <a:pt x="7453011" y="965158"/>
                  <a:pt x="7458642" y="958119"/>
                  <a:pt x="7467088" y="946858"/>
                </a:cubicBezTo>
                <a:cubicBezTo>
                  <a:pt x="7476940" y="935597"/>
                  <a:pt x="7481164" y="928559"/>
                  <a:pt x="7481164" y="927151"/>
                </a:cubicBezTo>
                <a:cubicBezTo>
                  <a:pt x="7479755" y="927151"/>
                  <a:pt x="7474125" y="929966"/>
                  <a:pt x="7467088" y="932781"/>
                </a:cubicBezTo>
                <a:cubicBezTo>
                  <a:pt x="7462864" y="934190"/>
                  <a:pt x="7458642" y="937005"/>
                  <a:pt x="7453011" y="939821"/>
                </a:cubicBezTo>
                <a:cubicBezTo>
                  <a:pt x="7433304" y="949673"/>
                  <a:pt x="7391076" y="963750"/>
                  <a:pt x="7385444" y="958119"/>
                </a:cubicBezTo>
                <a:cubicBezTo>
                  <a:pt x="7384037" y="956712"/>
                  <a:pt x="7384037" y="956712"/>
                  <a:pt x="7385444" y="955304"/>
                </a:cubicBezTo>
                <a:cubicBezTo>
                  <a:pt x="7385444" y="952489"/>
                  <a:pt x="7392483" y="949673"/>
                  <a:pt x="7405151" y="942636"/>
                </a:cubicBezTo>
                <a:cubicBezTo>
                  <a:pt x="7426267" y="932781"/>
                  <a:pt x="7458642" y="915891"/>
                  <a:pt x="7465679" y="893369"/>
                </a:cubicBezTo>
                <a:cubicBezTo>
                  <a:pt x="7461457" y="893369"/>
                  <a:pt x="7447381" y="893369"/>
                  <a:pt x="7429082" y="866623"/>
                </a:cubicBezTo>
                <a:cubicBezTo>
                  <a:pt x="7406560" y="832841"/>
                  <a:pt x="7393890" y="801873"/>
                  <a:pt x="7368554" y="801873"/>
                </a:cubicBezTo>
                <a:cubicBezTo>
                  <a:pt x="7338993" y="801873"/>
                  <a:pt x="7277058" y="842694"/>
                  <a:pt x="7254535" y="856770"/>
                </a:cubicBezTo>
                <a:cubicBezTo>
                  <a:pt x="7236237" y="824395"/>
                  <a:pt x="7226383" y="789205"/>
                  <a:pt x="7226383" y="749791"/>
                </a:cubicBezTo>
                <a:cubicBezTo>
                  <a:pt x="7226383" y="628735"/>
                  <a:pt x="7324918" y="530201"/>
                  <a:pt x="7445974" y="530201"/>
                </a:cubicBezTo>
                <a:close/>
                <a:moveTo>
                  <a:pt x="7447381" y="511901"/>
                </a:moveTo>
                <a:cubicBezTo>
                  <a:pt x="7315063" y="511901"/>
                  <a:pt x="7208084" y="618881"/>
                  <a:pt x="7208084" y="751198"/>
                </a:cubicBezTo>
                <a:cubicBezTo>
                  <a:pt x="7208084" y="883515"/>
                  <a:pt x="7315063" y="990494"/>
                  <a:pt x="7447381" y="990494"/>
                </a:cubicBezTo>
                <a:cubicBezTo>
                  <a:pt x="7579698" y="990494"/>
                  <a:pt x="7686677" y="883515"/>
                  <a:pt x="7686677" y="751198"/>
                </a:cubicBezTo>
                <a:cubicBezTo>
                  <a:pt x="7686677" y="618881"/>
                  <a:pt x="7579698" y="511901"/>
                  <a:pt x="7447381" y="511901"/>
                </a:cubicBezTo>
                <a:close/>
                <a:moveTo>
                  <a:pt x="0" y="0"/>
                </a:moveTo>
                <a:lnTo>
                  <a:pt x="8131175" y="0"/>
                </a:lnTo>
                <a:lnTo>
                  <a:pt x="8131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7CDAAF-2AF2-4783-8DE4-27BC54426A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8AD48C63-78A6-4D64-B839-4870EFEB9C1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9621F8B8-095C-4533-AAD5-D0190E4949A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2185" y="112940"/>
            <a:ext cx="2457449" cy="115416"/>
          </a:xfrm>
        </p:spPr>
        <p:txBody>
          <a:bodyPr wrap="square">
            <a:spAutoFit/>
          </a:bodyPr>
          <a:lstStyle>
            <a:lvl1pPr>
              <a:defRPr sz="75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800" b="0" i="1">
                <a:solidFill>
                  <a:schemeClr val="accent1"/>
                </a:solidFill>
              </a:defRPr>
            </a:lvl2pPr>
            <a:lvl3pPr>
              <a:defRPr sz="1800" b="0" i="1">
                <a:solidFill>
                  <a:schemeClr val="accent1"/>
                </a:solidFill>
              </a:defRPr>
            </a:lvl3pPr>
            <a:lvl4pPr>
              <a:defRPr sz="1800" b="0" i="1">
                <a:solidFill>
                  <a:schemeClr val="accent1"/>
                </a:solidFill>
              </a:defRPr>
            </a:lvl4pPr>
            <a:lvl5pPr>
              <a:defRPr sz="18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12F4F571-F9E9-46A5-AAAD-5596015039CA}"/>
              </a:ext>
            </a:extLst>
          </p:cNvPr>
          <p:cNvSpPr>
            <a:spLocks noGrp="1"/>
          </p:cNvSpPr>
          <p:nvPr>
            <p:ph type="subTitle" idx="18"/>
          </p:nvPr>
        </p:nvSpPr>
        <p:spPr>
          <a:xfrm>
            <a:off x="332185" y="618295"/>
            <a:ext cx="2457449" cy="553998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800" b="0" i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225"/>
              </a:spcAft>
              <a:buNone/>
              <a:defRPr sz="1800" i="1">
                <a:solidFill>
                  <a:schemeClr val="accent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3BFD0D7-D7BC-4499-8133-AE82ECD3FBD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First name last name, dat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99B1565F-424D-4703-AA18-CFF201F91A29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3"/>
            </p:custDataLst>
          </p:nvPr>
        </p:nvSpPr>
        <p:spPr>
          <a:xfrm>
            <a:off x="6724036" y="4885343"/>
            <a:ext cx="1728839" cy="115416"/>
          </a:xfrm>
        </p:spPr>
        <p:txBody>
          <a:bodyPr/>
          <a:lstStyle>
            <a:lvl1pPr algn="r">
              <a:defRPr sz="75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Internal confidential  •  Copyright® 202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281882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2343">
          <p15:clr>
            <a:srgbClr val="9FCC3B"/>
          </p15:clr>
        </p15:guide>
        <p15:guide id="2" pos="279">
          <p15:clr>
            <a:srgbClr val="9FCC3B"/>
          </p15:clr>
        </p15:guide>
        <p15:guide id="3" orient="horz" pos="1139">
          <p15:clr>
            <a:srgbClr val="9FCC3B"/>
          </p15:clr>
        </p15:guide>
        <p15:guide id="4" orient="horz" pos="2591">
          <p15:clr>
            <a:srgbClr val="9FCC3B"/>
          </p15:clr>
        </p15:guide>
        <p15:guide id="5" orient="horz" pos="4042">
          <p15:clr>
            <a:srgbClr val="9FCC3B"/>
          </p15:clr>
        </p15:guide>
        <p15:guide id="6" pos="2570">
          <p15:clr>
            <a:srgbClr val="9FCC3B"/>
          </p15:clr>
        </p15:guide>
        <p15:guide id="7" pos="7401">
          <p15:clr>
            <a:srgbClr val="9FCC3B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+Right Picture 30:70 |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22BB1B3-0703-40C0-A6E2-AC13233690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235628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8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22BB1B3-0703-40C0-A6E2-AC1323369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CE740D4-1B25-4367-9B11-A14AE3B9F6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186" y="341295"/>
            <a:ext cx="2457449" cy="276999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2BB489-86A6-4D41-BFFD-2AD8081D3C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2186" y="1369219"/>
            <a:ext cx="2457449" cy="344328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extplatzhalter 16">
            <a:extLst>
              <a:ext uri="{FF2B5EF4-FFF2-40B4-BE49-F238E27FC236}">
                <a16:creationId xmlns:a16="http://schemas.microsoft.com/office/drawing/2014/main" id="{578603F6-7C4F-4597-A4FD-FC0CC443EB50}"/>
              </a:ext>
            </a:extLst>
          </p:cNvPr>
          <p:cNvSpPr txBox="1">
            <a:spLocks/>
          </p:cNvSpPr>
          <p:nvPr/>
        </p:nvSpPr>
        <p:spPr bwMode="gray">
          <a:xfrm>
            <a:off x="332185" y="956104"/>
            <a:ext cx="287687" cy="216000"/>
          </a:xfrm>
          <a:prstGeom prst="rect">
            <a:avLst/>
          </a:prstGeom>
          <a:noFill/>
        </p:spPr>
        <p:txBody>
          <a:bodyPr vert="horz" lIns="0" tIns="108000" rIns="0" bIns="0" rtlCol="0" anchor="b">
            <a:no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783" rtl="0" eaLnBrk="1" latinLnBrk="0" hangingPunct="1">
              <a:lnSpc>
                <a:spcPct val="100000"/>
              </a:lnSpc>
              <a:spcBef>
                <a:spcPts val="288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—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B9054DD3-A65F-4BC7-8489-2DD6A3476D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6810" y="0"/>
            <a:ext cx="6098381" cy="5143500"/>
          </a:xfrm>
          <a:custGeom>
            <a:avLst/>
            <a:gdLst>
              <a:gd name="connsiteX0" fmla="*/ 7554360 w 8131175"/>
              <a:gd name="connsiteY0" fmla="*/ 766683 h 6858000"/>
              <a:gd name="connsiteX1" fmla="*/ 7544507 w 8131175"/>
              <a:gd name="connsiteY1" fmla="*/ 776535 h 6858000"/>
              <a:gd name="connsiteX2" fmla="*/ 7554360 w 8131175"/>
              <a:gd name="connsiteY2" fmla="*/ 786388 h 6858000"/>
              <a:gd name="connsiteX3" fmla="*/ 7564214 w 8131175"/>
              <a:gd name="connsiteY3" fmla="*/ 776535 h 6858000"/>
              <a:gd name="connsiteX4" fmla="*/ 7554360 w 8131175"/>
              <a:gd name="connsiteY4" fmla="*/ 766683 h 6858000"/>
              <a:gd name="connsiteX5" fmla="*/ 7372953 w 8131175"/>
              <a:gd name="connsiteY5" fmla="*/ 690142 h 6858000"/>
              <a:gd name="connsiteX6" fmla="*/ 7388261 w 8131175"/>
              <a:gd name="connsiteY6" fmla="*/ 692078 h 6858000"/>
              <a:gd name="connsiteX7" fmla="*/ 7389668 w 8131175"/>
              <a:gd name="connsiteY7" fmla="*/ 692078 h 6858000"/>
              <a:gd name="connsiteX8" fmla="*/ 7388261 w 8131175"/>
              <a:gd name="connsiteY8" fmla="*/ 693485 h 6858000"/>
              <a:gd name="connsiteX9" fmla="*/ 7368554 w 8131175"/>
              <a:gd name="connsiteY9" fmla="*/ 710377 h 6858000"/>
              <a:gd name="connsiteX10" fmla="*/ 7351662 w 8131175"/>
              <a:gd name="connsiteY10" fmla="*/ 714599 h 6858000"/>
              <a:gd name="connsiteX11" fmla="*/ 7337586 w 8131175"/>
              <a:gd name="connsiteY11" fmla="*/ 711785 h 6858000"/>
              <a:gd name="connsiteX12" fmla="*/ 7354478 w 8131175"/>
              <a:gd name="connsiteY12" fmla="*/ 697709 h 6858000"/>
              <a:gd name="connsiteX13" fmla="*/ 7372953 w 8131175"/>
              <a:gd name="connsiteY13" fmla="*/ 690142 h 6858000"/>
              <a:gd name="connsiteX14" fmla="*/ 7399521 w 8131175"/>
              <a:gd name="connsiteY14" fmla="*/ 609028 h 6858000"/>
              <a:gd name="connsiteX15" fmla="*/ 7412190 w 8131175"/>
              <a:gd name="connsiteY15" fmla="*/ 618881 h 6858000"/>
              <a:gd name="connsiteX16" fmla="*/ 7399521 w 8131175"/>
              <a:gd name="connsiteY16" fmla="*/ 628735 h 6858000"/>
              <a:gd name="connsiteX17" fmla="*/ 7386853 w 8131175"/>
              <a:gd name="connsiteY17" fmla="*/ 618881 h 6858000"/>
              <a:gd name="connsiteX18" fmla="*/ 7399521 w 8131175"/>
              <a:gd name="connsiteY18" fmla="*/ 609028 h 6858000"/>
              <a:gd name="connsiteX19" fmla="*/ 7445974 w 8131175"/>
              <a:gd name="connsiteY19" fmla="*/ 530201 h 6858000"/>
              <a:gd name="connsiteX20" fmla="*/ 7612073 w 8131175"/>
              <a:gd name="connsiteY20" fmla="*/ 606213 h 6858000"/>
              <a:gd name="connsiteX21" fmla="*/ 7616296 w 8131175"/>
              <a:gd name="connsiteY21" fmla="*/ 679408 h 6858000"/>
              <a:gd name="connsiteX22" fmla="*/ 7562806 w 8131175"/>
              <a:gd name="connsiteY22" fmla="*/ 676593 h 6858000"/>
              <a:gd name="connsiteX23" fmla="*/ 7567030 w 8131175"/>
              <a:gd name="connsiteY23" fmla="*/ 666741 h 6858000"/>
              <a:gd name="connsiteX24" fmla="*/ 7574067 w 8131175"/>
              <a:gd name="connsiteY24" fmla="*/ 665332 h 6858000"/>
              <a:gd name="connsiteX25" fmla="*/ 7575475 w 8131175"/>
              <a:gd name="connsiteY25" fmla="*/ 661110 h 6858000"/>
              <a:gd name="connsiteX26" fmla="*/ 7558584 w 8131175"/>
              <a:gd name="connsiteY26" fmla="*/ 655479 h 6858000"/>
              <a:gd name="connsiteX27" fmla="*/ 7537468 w 8131175"/>
              <a:gd name="connsiteY27" fmla="*/ 656888 h 6858000"/>
              <a:gd name="connsiteX28" fmla="*/ 7529022 w 8131175"/>
              <a:gd name="connsiteY28" fmla="*/ 654071 h 6858000"/>
              <a:gd name="connsiteX29" fmla="*/ 7526207 w 8131175"/>
              <a:gd name="connsiteY29" fmla="*/ 649849 h 6858000"/>
              <a:gd name="connsiteX30" fmla="*/ 7529022 w 8131175"/>
              <a:gd name="connsiteY30" fmla="*/ 641403 h 6858000"/>
              <a:gd name="connsiteX31" fmla="*/ 7537468 w 8131175"/>
              <a:gd name="connsiteY31" fmla="*/ 639996 h 6858000"/>
              <a:gd name="connsiteX32" fmla="*/ 7538877 w 8131175"/>
              <a:gd name="connsiteY32" fmla="*/ 635772 h 6858000"/>
              <a:gd name="connsiteX33" fmla="*/ 7521985 w 8131175"/>
              <a:gd name="connsiteY33" fmla="*/ 630142 h 6858000"/>
              <a:gd name="connsiteX34" fmla="*/ 7500871 w 8131175"/>
              <a:gd name="connsiteY34" fmla="*/ 631550 h 6858000"/>
              <a:gd name="connsiteX35" fmla="*/ 7492425 w 8131175"/>
              <a:gd name="connsiteY35" fmla="*/ 628735 h 6858000"/>
              <a:gd name="connsiteX36" fmla="*/ 7489610 w 8131175"/>
              <a:gd name="connsiteY36" fmla="*/ 624511 h 6858000"/>
              <a:gd name="connsiteX37" fmla="*/ 7492425 w 8131175"/>
              <a:gd name="connsiteY37" fmla="*/ 614659 h 6858000"/>
              <a:gd name="connsiteX38" fmla="*/ 7500871 w 8131175"/>
              <a:gd name="connsiteY38" fmla="*/ 613250 h 6858000"/>
              <a:gd name="connsiteX39" fmla="*/ 7502278 w 8131175"/>
              <a:gd name="connsiteY39" fmla="*/ 609028 h 6858000"/>
              <a:gd name="connsiteX40" fmla="*/ 7485386 w 8131175"/>
              <a:gd name="connsiteY40" fmla="*/ 603397 h 6858000"/>
              <a:gd name="connsiteX41" fmla="*/ 7464272 w 8131175"/>
              <a:gd name="connsiteY41" fmla="*/ 604804 h 6858000"/>
              <a:gd name="connsiteX42" fmla="*/ 7460050 w 8131175"/>
              <a:gd name="connsiteY42" fmla="*/ 603397 h 6858000"/>
              <a:gd name="connsiteX43" fmla="*/ 7458642 w 8131175"/>
              <a:gd name="connsiteY43" fmla="*/ 600582 h 6858000"/>
              <a:gd name="connsiteX44" fmla="*/ 7460050 w 8131175"/>
              <a:gd name="connsiteY44" fmla="*/ 593545 h 6858000"/>
              <a:gd name="connsiteX45" fmla="*/ 7461457 w 8131175"/>
              <a:gd name="connsiteY45" fmla="*/ 573836 h 6858000"/>
              <a:gd name="connsiteX46" fmla="*/ 7448787 w 8131175"/>
              <a:gd name="connsiteY46" fmla="*/ 551315 h 6858000"/>
              <a:gd name="connsiteX47" fmla="*/ 7444565 w 8131175"/>
              <a:gd name="connsiteY47" fmla="*/ 549907 h 6858000"/>
              <a:gd name="connsiteX48" fmla="*/ 7443158 w 8131175"/>
              <a:gd name="connsiteY48" fmla="*/ 555537 h 6858000"/>
              <a:gd name="connsiteX49" fmla="*/ 7417821 w 8131175"/>
              <a:gd name="connsiteY49" fmla="*/ 589321 h 6858000"/>
              <a:gd name="connsiteX50" fmla="*/ 7409375 w 8131175"/>
              <a:gd name="connsiteY50" fmla="*/ 589321 h 6858000"/>
              <a:gd name="connsiteX51" fmla="*/ 7403744 w 8131175"/>
              <a:gd name="connsiteY51" fmla="*/ 589321 h 6858000"/>
              <a:gd name="connsiteX52" fmla="*/ 7400929 w 8131175"/>
              <a:gd name="connsiteY52" fmla="*/ 589321 h 6858000"/>
              <a:gd name="connsiteX53" fmla="*/ 7395298 w 8131175"/>
              <a:gd name="connsiteY53" fmla="*/ 589321 h 6858000"/>
              <a:gd name="connsiteX54" fmla="*/ 7386853 w 8131175"/>
              <a:gd name="connsiteY54" fmla="*/ 590728 h 6858000"/>
              <a:gd name="connsiteX55" fmla="*/ 7367145 w 8131175"/>
              <a:gd name="connsiteY55" fmla="*/ 610435 h 6858000"/>
              <a:gd name="connsiteX56" fmla="*/ 7367145 w 8131175"/>
              <a:gd name="connsiteY56" fmla="*/ 613250 h 6858000"/>
              <a:gd name="connsiteX57" fmla="*/ 7364330 w 8131175"/>
              <a:gd name="connsiteY57" fmla="*/ 617474 h 6858000"/>
              <a:gd name="connsiteX58" fmla="*/ 7353069 w 8131175"/>
              <a:gd name="connsiteY58" fmla="*/ 618881 h 6858000"/>
              <a:gd name="connsiteX59" fmla="*/ 7310841 w 8131175"/>
              <a:gd name="connsiteY59" fmla="*/ 607619 h 6858000"/>
              <a:gd name="connsiteX60" fmla="*/ 7308026 w 8131175"/>
              <a:gd name="connsiteY60" fmla="*/ 606213 h 6858000"/>
              <a:gd name="connsiteX61" fmla="*/ 7306618 w 8131175"/>
              <a:gd name="connsiteY61" fmla="*/ 607619 h 6858000"/>
              <a:gd name="connsiteX62" fmla="*/ 7295356 w 8131175"/>
              <a:gd name="connsiteY62" fmla="*/ 637181 h 6858000"/>
              <a:gd name="connsiteX63" fmla="*/ 7315063 w 8131175"/>
              <a:gd name="connsiteY63" fmla="*/ 673778 h 6858000"/>
              <a:gd name="connsiteX64" fmla="*/ 7322101 w 8131175"/>
              <a:gd name="connsiteY64" fmla="*/ 678002 h 6858000"/>
              <a:gd name="connsiteX65" fmla="*/ 7322101 w 8131175"/>
              <a:gd name="connsiteY65" fmla="*/ 675186 h 6858000"/>
              <a:gd name="connsiteX66" fmla="*/ 7324918 w 8131175"/>
              <a:gd name="connsiteY66" fmla="*/ 665332 h 6858000"/>
              <a:gd name="connsiteX67" fmla="*/ 7343216 w 8131175"/>
              <a:gd name="connsiteY67" fmla="*/ 661110 h 6858000"/>
              <a:gd name="connsiteX68" fmla="*/ 7344623 w 8131175"/>
              <a:gd name="connsiteY68" fmla="*/ 662517 h 6858000"/>
              <a:gd name="connsiteX69" fmla="*/ 7357293 w 8131175"/>
              <a:gd name="connsiteY69" fmla="*/ 666741 h 6858000"/>
              <a:gd name="connsiteX70" fmla="*/ 7369961 w 8131175"/>
              <a:gd name="connsiteY70" fmla="*/ 662517 h 6858000"/>
              <a:gd name="connsiteX71" fmla="*/ 7388261 w 8131175"/>
              <a:gd name="connsiteY71" fmla="*/ 662517 h 6858000"/>
              <a:gd name="connsiteX72" fmla="*/ 7391076 w 8131175"/>
              <a:gd name="connsiteY72" fmla="*/ 678002 h 6858000"/>
              <a:gd name="connsiteX73" fmla="*/ 7391076 w 8131175"/>
              <a:gd name="connsiteY73" fmla="*/ 679408 h 6858000"/>
              <a:gd name="connsiteX74" fmla="*/ 7389668 w 8131175"/>
              <a:gd name="connsiteY74" fmla="*/ 679408 h 6858000"/>
              <a:gd name="connsiteX75" fmla="*/ 7355884 w 8131175"/>
              <a:gd name="connsiteY75" fmla="*/ 676593 h 6858000"/>
              <a:gd name="connsiteX76" fmla="*/ 7336177 w 8131175"/>
              <a:gd name="connsiteY76" fmla="*/ 685039 h 6858000"/>
              <a:gd name="connsiteX77" fmla="*/ 7302395 w 8131175"/>
              <a:gd name="connsiteY77" fmla="*/ 692078 h 6858000"/>
              <a:gd name="connsiteX78" fmla="*/ 7281280 w 8131175"/>
              <a:gd name="connsiteY78" fmla="*/ 672371 h 6858000"/>
              <a:gd name="connsiteX79" fmla="*/ 7279873 w 8131175"/>
              <a:gd name="connsiteY79" fmla="*/ 669556 h 6858000"/>
              <a:gd name="connsiteX80" fmla="*/ 7278465 w 8131175"/>
              <a:gd name="connsiteY80" fmla="*/ 673778 h 6858000"/>
              <a:gd name="connsiteX81" fmla="*/ 7286910 w 8131175"/>
              <a:gd name="connsiteY81" fmla="*/ 707561 h 6858000"/>
              <a:gd name="connsiteX82" fmla="*/ 7327733 w 8131175"/>
              <a:gd name="connsiteY82" fmla="*/ 713192 h 6858000"/>
              <a:gd name="connsiteX83" fmla="*/ 7329140 w 8131175"/>
              <a:gd name="connsiteY83" fmla="*/ 711785 h 6858000"/>
              <a:gd name="connsiteX84" fmla="*/ 7329140 w 8131175"/>
              <a:gd name="connsiteY84" fmla="*/ 713192 h 6858000"/>
              <a:gd name="connsiteX85" fmla="*/ 7333362 w 8131175"/>
              <a:gd name="connsiteY85" fmla="*/ 727269 h 6858000"/>
              <a:gd name="connsiteX86" fmla="*/ 7351662 w 8131175"/>
              <a:gd name="connsiteY86" fmla="*/ 739936 h 6858000"/>
              <a:gd name="connsiteX87" fmla="*/ 7374185 w 8131175"/>
              <a:gd name="connsiteY87" fmla="*/ 730084 h 6858000"/>
              <a:gd name="connsiteX88" fmla="*/ 7422043 w 8131175"/>
              <a:gd name="connsiteY88" fmla="*/ 713192 h 6858000"/>
              <a:gd name="connsiteX89" fmla="*/ 7489610 w 8131175"/>
              <a:gd name="connsiteY89" fmla="*/ 786388 h 6858000"/>
              <a:gd name="connsiteX90" fmla="*/ 7495241 w 8131175"/>
              <a:gd name="connsiteY90" fmla="*/ 796242 h 6858000"/>
              <a:gd name="connsiteX91" fmla="*/ 7495241 w 8131175"/>
              <a:gd name="connsiteY91" fmla="*/ 797649 h 6858000"/>
              <a:gd name="connsiteX92" fmla="*/ 7500871 w 8131175"/>
              <a:gd name="connsiteY92" fmla="*/ 801873 h 6858000"/>
              <a:gd name="connsiteX93" fmla="*/ 7503686 w 8131175"/>
              <a:gd name="connsiteY93" fmla="*/ 797649 h 6858000"/>
              <a:gd name="connsiteX94" fmla="*/ 7533246 w 8131175"/>
              <a:gd name="connsiteY94" fmla="*/ 758237 h 6858000"/>
              <a:gd name="connsiteX95" fmla="*/ 7559991 w 8131175"/>
              <a:gd name="connsiteY95" fmla="*/ 754013 h 6858000"/>
              <a:gd name="connsiteX96" fmla="*/ 7562806 w 8131175"/>
              <a:gd name="connsiteY96" fmla="*/ 754013 h 6858000"/>
              <a:gd name="connsiteX97" fmla="*/ 7588143 w 8131175"/>
              <a:gd name="connsiteY97" fmla="*/ 744160 h 6858000"/>
              <a:gd name="connsiteX98" fmla="*/ 7655709 w 8131175"/>
              <a:gd name="connsiteY98" fmla="*/ 718823 h 6858000"/>
              <a:gd name="connsiteX99" fmla="*/ 7665563 w 8131175"/>
              <a:gd name="connsiteY99" fmla="*/ 721638 h 6858000"/>
              <a:gd name="connsiteX100" fmla="*/ 7662748 w 8131175"/>
              <a:gd name="connsiteY100" fmla="*/ 728675 h 6858000"/>
              <a:gd name="connsiteX101" fmla="*/ 7658526 w 8131175"/>
              <a:gd name="connsiteY101" fmla="*/ 730084 h 6858000"/>
              <a:gd name="connsiteX102" fmla="*/ 7576882 w 8131175"/>
              <a:gd name="connsiteY102" fmla="*/ 789205 h 6858000"/>
              <a:gd name="connsiteX103" fmla="*/ 7574067 w 8131175"/>
              <a:gd name="connsiteY103" fmla="*/ 810319 h 6858000"/>
              <a:gd name="connsiteX104" fmla="*/ 7574067 w 8131175"/>
              <a:gd name="connsiteY104" fmla="*/ 820172 h 6858000"/>
              <a:gd name="connsiteX105" fmla="*/ 7547323 w 8131175"/>
              <a:gd name="connsiteY105" fmla="*/ 886330 h 6858000"/>
              <a:gd name="connsiteX106" fmla="*/ 7520576 w 8131175"/>
              <a:gd name="connsiteY106" fmla="*/ 908852 h 6858000"/>
              <a:gd name="connsiteX107" fmla="*/ 7514948 w 8131175"/>
              <a:gd name="connsiteY107" fmla="*/ 914483 h 6858000"/>
              <a:gd name="connsiteX108" fmla="*/ 7509317 w 8131175"/>
              <a:gd name="connsiteY108" fmla="*/ 921520 h 6858000"/>
              <a:gd name="connsiteX109" fmla="*/ 7482571 w 8131175"/>
              <a:gd name="connsiteY109" fmla="*/ 951082 h 6858000"/>
              <a:gd name="connsiteX110" fmla="*/ 7455826 w 8131175"/>
              <a:gd name="connsiteY110" fmla="*/ 969380 h 6858000"/>
              <a:gd name="connsiteX111" fmla="*/ 7454420 w 8131175"/>
              <a:gd name="connsiteY111" fmla="*/ 969380 h 6858000"/>
              <a:gd name="connsiteX112" fmla="*/ 7453011 w 8131175"/>
              <a:gd name="connsiteY112" fmla="*/ 967974 h 6858000"/>
              <a:gd name="connsiteX113" fmla="*/ 7467088 w 8131175"/>
              <a:gd name="connsiteY113" fmla="*/ 946858 h 6858000"/>
              <a:gd name="connsiteX114" fmla="*/ 7481164 w 8131175"/>
              <a:gd name="connsiteY114" fmla="*/ 927151 h 6858000"/>
              <a:gd name="connsiteX115" fmla="*/ 7467088 w 8131175"/>
              <a:gd name="connsiteY115" fmla="*/ 932781 h 6858000"/>
              <a:gd name="connsiteX116" fmla="*/ 7453011 w 8131175"/>
              <a:gd name="connsiteY116" fmla="*/ 939821 h 6858000"/>
              <a:gd name="connsiteX117" fmla="*/ 7385444 w 8131175"/>
              <a:gd name="connsiteY117" fmla="*/ 958119 h 6858000"/>
              <a:gd name="connsiteX118" fmla="*/ 7385444 w 8131175"/>
              <a:gd name="connsiteY118" fmla="*/ 955304 h 6858000"/>
              <a:gd name="connsiteX119" fmla="*/ 7405151 w 8131175"/>
              <a:gd name="connsiteY119" fmla="*/ 942636 h 6858000"/>
              <a:gd name="connsiteX120" fmla="*/ 7465679 w 8131175"/>
              <a:gd name="connsiteY120" fmla="*/ 893369 h 6858000"/>
              <a:gd name="connsiteX121" fmla="*/ 7429082 w 8131175"/>
              <a:gd name="connsiteY121" fmla="*/ 866623 h 6858000"/>
              <a:gd name="connsiteX122" fmla="*/ 7368554 w 8131175"/>
              <a:gd name="connsiteY122" fmla="*/ 801873 h 6858000"/>
              <a:gd name="connsiteX123" fmla="*/ 7254535 w 8131175"/>
              <a:gd name="connsiteY123" fmla="*/ 856770 h 6858000"/>
              <a:gd name="connsiteX124" fmla="*/ 7226383 w 8131175"/>
              <a:gd name="connsiteY124" fmla="*/ 749791 h 6858000"/>
              <a:gd name="connsiteX125" fmla="*/ 7445974 w 8131175"/>
              <a:gd name="connsiteY125" fmla="*/ 530201 h 6858000"/>
              <a:gd name="connsiteX126" fmla="*/ 7447381 w 8131175"/>
              <a:gd name="connsiteY126" fmla="*/ 511901 h 6858000"/>
              <a:gd name="connsiteX127" fmla="*/ 7208084 w 8131175"/>
              <a:gd name="connsiteY127" fmla="*/ 751198 h 6858000"/>
              <a:gd name="connsiteX128" fmla="*/ 7447381 w 8131175"/>
              <a:gd name="connsiteY128" fmla="*/ 990494 h 6858000"/>
              <a:gd name="connsiteX129" fmla="*/ 7686677 w 8131175"/>
              <a:gd name="connsiteY129" fmla="*/ 751198 h 6858000"/>
              <a:gd name="connsiteX130" fmla="*/ 7447381 w 8131175"/>
              <a:gd name="connsiteY130" fmla="*/ 511901 h 6858000"/>
              <a:gd name="connsiteX131" fmla="*/ 0 w 8131175"/>
              <a:gd name="connsiteY131" fmla="*/ 0 h 6858000"/>
              <a:gd name="connsiteX132" fmla="*/ 8131175 w 8131175"/>
              <a:gd name="connsiteY132" fmla="*/ 0 h 6858000"/>
              <a:gd name="connsiteX133" fmla="*/ 8131175 w 8131175"/>
              <a:gd name="connsiteY133" fmla="*/ 6858000 h 6858000"/>
              <a:gd name="connsiteX134" fmla="*/ 0 w 8131175"/>
              <a:gd name="connsiteY13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</a:cxnLst>
            <a:rect l="l" t="t" r="r" b="b"/>
            <a:pathLst>
              <a:path w="8131175" h="6858000">
                <a:moveTo>
                  <a:pt x="7554360" y="766683"/>
                </a:moveTo>
                <a:cubicBezTo>
                  <a:pt x="7548729" y="766683"/>
                  <a:pt x="7544507" y="770905"/>
                  <a:pt x="7544507" y="776535"/>
                </a:cubicBezTo>
                <a:cubicBezTo>
                  <a:pt x="7544507" y="782166"/>
                  <a:pt x="7548729" y="786388"/>
                  <a:pt x="7554360" y="786388"/>
                </a:cubicBezTo>
                <a:cubicBezTo>
                  <a:pt x="7559991" y="784981"/>
                  <a:pt x="7564214" y="780759"/>
                  <a:pt x="7564214" y="776535"/>
                </a:cubicBezTo>
                <a:cubicBezTo>
                  <a:pt x="7564214" y="770905"/>
                  <a:pt x="7559991" y="766683"/>
                  <a:pt x="7554360" y="766683"/>
                </a:cubicBezTo>
                <a:close/>
                <a:moveTo>
                  <a:pt x="7372953" y="690142"/>
                </a:moveTo>
                <a:cubicBezTo>
                  <a:pt x="7378407" y="689262"/>
                  <a:pt x="7383334" y="689966"/>
                  <a:pt x="7388261" y="692078"/>
                </a:cubicBezTo>
                <a:lnTo>
                  <a:pt x="7389668" y="692078"/>
                </a:lnTo>
                <a:cubicBezTo>
                  <a:pt x="7389668" y="692078"/>
                  <a:pt x="7389668" y="693485"/>
                  <a:pt x="7388261" y="693485"/>
                </a:cubicBezTo>
                <a:cubicBezTo>
                  <a:pt x="7385444" y="699116"/>
                  <a:pt x="7379815" y="706155"/>
                  <a:pt x="7368554" y="710377"/>
                </a:cubicBezTo>
                <a:cubicBezTo>
                  <a:pt x="7361515" y="713192"/>
                  <a:pt x="7357293" y="714599"/>
                  <a:pt x="7351662" y="714599"/>
                </a:cubicBezTo>
                <a:cubicBezTo>
                  <a:pt x="7344623" y="714599"/>
                  <a:pt x="7338993" y="713192"/>
                  <a:pt x="7337586" y="711785"/>
                </a:cubicBezTo>
                <a:cubicBezTo>
                  <a:pt x="7337586" y="711785"/>
                  <a:pt x="7344623" y="704746"/>
                  <a:pt x="7354478" y="697709"/>
                </a:cubicBezTo>
                <a:cubicBezTo>
                  <a:pt x="7361516" y="693486"/>
                  <a:pt x="7367498" y="691022"/>
                  <a:pt x="7372953" y="690142"/>
                </a:cubicBezTo>
                <a:close/>
                <a:moveTo>
                  <a:pt x="7399521" y="609028"/>
                </a:moveTo>
                <a:cubicBezTo>
                  <a:pt x="7406560" y="609028"/>
                  <a:pt x="7412190" y="613250"/>
                  <a:pt x="7412190" y="618881"/>
                </a:cubicBezTo>
                <a:cubicBezTo>
                  <a:pt x="7412190" y="624511"/>
                  <a:pt x="7406560" y="628735"/>
                  <a:pt x="7399521" y="628735"/>
                </a:cubicBezTo>
                <a:cubicBezTo>
                  <a:pt x="7392483" y="628735"/>
                  <a:pt x="7386853" y="624511"/>
                  <a:pt x="7386853" y="618881"/>
                </a:cubicBezTo>
                <a:cubicBezTo>
                  <a:pt x="7386853" y="613250"/>
                  <a:pt x="7392483" y="609028"/>
                  <a:pt x="7399521" y="609028"/>
                </a:cubicBezTo>
                <a:close/>
                <a:moveTo>
                  <a:pt x="7445974" y="530201"/>
                </a:moveTo>
                <a:cubicBezTo>
                  <a:pt x="7512131" y="530201"/>
                  <a:pt x="7571252" y="559761"/>
                  <a:pt x="7612073" y="606213"/>
                </a:cubicBezTo>
                <a:cubicBezTo>
                  <a:pt x="7637410" y="638588"/>
                  <a:pt x="7633188" y="665332"/>
                  <a:pt x="7616296" y="679408"/>
                </a:cubicBezTo>
                <a:cubicBezTo>
                  <a:pt x="7595183" y="694893"/>
                  <a:pt x="7567030" y="689263"/>
                  <a:pt x="7562806" y="676593"/>
                </a:cubicBezTo>
                <a:cubicBezTo>
                  <a:pt x="7561399" y="669556"/>
                  <a:pt x="7567030" y="666741"/>
                  <a:pt x="7567030" y="666741"/>
                </a:cubicBezTo>
                <a:cubicBezTo>
                  <a:pt x="7568436" y="665332"/>
                  <a:pt x="7571252" y="665332"/>
                  <a:pt x="7574067" y="665332"/>
                </a:cubicBezTo>
                <a:cubicBezTo>
                  <a:pt x="7578291" y="665332"/>
                  <a:pt x="7578291" y="662517"/>
                  <a:pt x="7575475" y="661110"/>
                </a:cubicBezTo>
                <a:cubicBezTo>
                  <a:pt x="7571252" y="658295"/>
                  <a:pt x="7564214" y="655479"/>
                  <a:pt x="7558584" y="655479"/>
                </a:cubicBezTo>
                <a:cubicBezTo>
                  <a:pt x="7550138" y="655479"/>
                  <a:pt x="7537468" y="656888"/>
                  <a:pt x="7537468" y="656888"/>
                </a:cubicBezTo>
                <a:cubicBezTo>
                  <a:pt x="7534653" y="656888"/>
                  <a:pt x="7531839" y="655479"/>
                  <a:pt x="7529022" y="654071"/>
                </a:cubicBezTo>
                <a:cubicBezTo>
                  <a:pt x="7527615" y="652664"/>
                  <a:pt x="7526207" y="651256"/>
                  <a:pt x="7526207" y="649849"/>
                </a:cubicBezTo>
                <a:cubicBezTo>
                  <a:pt x="7524800" y="642811"/>
                  <a:pt x="7529022" y="641403"/>
                  <a:pt x="7529022" y="641403"/>
                </a:cubicBezTo>
                <a:cubicBezTo>
                  <a:pt x="7530431" y="639996"/>
                  <a:pt x="7534653" y="638588"/>
                  <a:pt x="7537468" y="639996"/>
                </a:cubicBezTo>
                <a:cubicBezTo>
                  <a:pt x="7541692" y="639996"/>
                  <a:pt x="7541692" y="637181"/>
                  <a:pt x="7538877" y="635772"/>
                </a:cubicBezTo>
                <a:cubicBezTo>
                  <a:pt x="7534653" y="632957"/>
                  <a:pt x="7527615" y="630142"/>
                  <a:pt x="7521985" y="630142"/>
                </a:cubicBezTo>
                <a:cubicBezTo>
                  <a:pt x="7513539" y="630142"/>
                  <a:pt x="7500871" y="631550"/>
                  <a:pt x="7500871" y="631550"/>
                </a:cubicBezTo>
                <a:cubicBezTo>
                  <a:pt x="7498056" y="631550"/>
                  <a:pt x="7495241" y="630142"/>
                  <a:pt x="7492425" y="628735"/>
                </a:cubicBezTo>
                <a:cubicBezTo>
                  <a:pt x="7491017" y="627326"/>
                  <a:pt x="7489610" y="625920"/>
                  <a:pt x="7489610" y="624511"/>
                </a:cubicBezTo>
                <a:cubicBezTo>
                  <a:pt x="7488201" y="617474"/>
                  <a:pt x="7492425" y="614659"/>
                  <a:pt x="7492425" y="614659"/>
                </a:cubicBezTo>
                <a:cubicBezTo>
                  <a:pt x="7493832" y="613250"/>
                  <a:pt x="7496647" y="611843"/>
                  <a:pt x="7500871" y="613250"/>
                </a:cubicBezTo>
                <a:cubicBezTo>
                  <a:pt x="7505093" y="613250"/>
                  <a:pt x="7505093" y="610435"/>
                  <a:pt x="7502278" y="609028"/>
                </a:cubicBezTo>
                <a:cubicBezTo>
                  <a:pt x="7498056" y="606213"/>
                  <a:pt x="7491017" y="603397"/>
                  <a:pt x="7485386" y="603397"/>
                </a:cubicBezTo>
                <a:cubicBezTo>
                  <a:pt x="7476940" y="603397"/>
                  <a:pt x="7464272" y="604804"/>
                  <a:pt x="7464272" y="604804"/>
                </a:cubicBezTo>
                <a:cubicBezTo>
                  <a:pt x="7462864" y="604804"/>
                  <a:pt x="7460050" y="604804"/>
                  <a:pt x="7460050" y="603397"/>
                </a:cubicBezTo>
                <a:cubicBezTo>
                  <a:pt x="7458642" y="601989"/>
                  <a:pt x="7458642" y="601989"/>
                  <a:pt x="7458642" y="600582"/>
                </a:cubicBezTo>
                <a:cubicBezTo>
                  <a:pt x="7458642" y="599174"/>
                  <a:pt x="7458642" y="596358"/>
                  <a:pt x="7460050" y="593545"/>
                </a:cubicBezTo>
                <a:cubicBezTo>
                  <a:pt x="7461457" y="587912"/>
                  <a:pt x="7462864" y="582282"/>
                  <a:pt x="7461457" y="573836"/>
                </a:cubicBezTo>
                <a:cubicBezTo>
                  <a:pt x="7460050" y="558353"/>
                  <a:pt x="7451604" y="552722"/>
                  <a:pt x="7448787" y="551315"/>
                </a:cubicBezTo>
                <a:cubicBezTo>
                  <a:pt x="7445974" y="549907"/>
                  <a:pt x="7444565" y="549907"/>
                  <a:pt x="7444565" y="549907"/>
                </a:cubicBezTo>
                <a:cubicBezTo>
                  <a:pt x="7444565" y="549907"/>
                  <a:pt x="7443158" y="552722"/>
                  <a:pt x="7443158" y="555537"/>
                </a:cubicBezTo>
                <a:cubicBezTo>
                  <a:pt x="7441750" y="566799"/>
                  <a:pt x="7440343" y="589321"/>
                  <a:pt x="7417821" y="589321"/>
                </a:cubicBezTo>
                <a:cubicBezTo>
                  <a:pt x="7415005" y="589321"/>
                  <a:pt x="7412190" y="589321"/>
                  <a:pt x="7409375" y="589321"/>
                </a:cubicBezTo>
                <a:cubicBezTo>
                  <a:pt x="7407966" y="589321"/>
                  <a:pt x="7405151" y="589321"/>
                  <a:pt x="7403744" y="589321"/>
                </a:cubicBezTo>
                <a:cubicBezTo>
                  <a:pt x="7402336" y="589321"/>
                  <a:pt x="7402336" y="589321"/>
                  <a:pt x="7400929" y="589321"/>
                </a:cubicBezTo>
                <a:cubicBezTo>
                  <a:pt x="7399521" y="589321"/>
                  <a:pt x="7396707" y="589321"/>
                  <a:pt x="7395298" y="589321"/>
                </a:cubicBezTo>
                <a:cubicBezTo>
                  <a:pt x="7392483" y="589321"/>
                  <a:pt x="7389668" y="589321"/>
                  <a:pt x="7386853" y="590728"/>
                </a:cubicBezTo>
                <a:cubicBezTo>
                  <a:pt x="7375591" y="593545"/>
                  <a:pt x="7368554" y="600582"/>
                  <a:pt x="7367145" y="610435"/>
                </a:cubicBezTo>
                <a:cubicBezTo>
                  <a:pt x="7367145" y="611843"/>
                  <a:pt x="7367145" y="611843"/>
                  <a:pt x="7367145" y="613250"/>
                </a:cubicBezTo>
                <a:cubicBezTo>
                  <a:pt x="7367145" y="614659"/>
                  <a:pt x="7367145" y="617474"/>
                  <a:pt x="7364330" y="617474"/>
                </a:cubicBezTo>
                <a:cubicBezTo>
                  <a:pt x="7364330" y="617474"/>
                  <a:pt x="7360108" y="618881"/>
                  <a:pt x="7353069" y="618881"/>
                </a:cubicBezTo>
                <a:cubicBezTo>
                  <a:pt x="7327733" y="621696"/>
                  <a:pt x="7317879" y="611843"/>
                  <a:pt x="7310841" y="607619"/>
                </a:cubicBezTo>
                <a:cubicBezTo>
                  <a:pt x="7309433" y="607619"/>
                  <a:pt x="7308026" y="606213"/>
                  <a:pt x="7308026" y="606213"/>
                </a:cubicBezTo>
                <a:cubicBezTo>
                  <a:pt x="7308026" y="606213"/>
                  <a:pt x="7308026" y="606213"/>
                  <a:pt x="7306618" y="607619"/>
                </a:cubicBezTo>
                <a:cubicBezTo>
                  <a:pt x="7302395" y="611843"/>
                  <a:pt x="7295356" y="624511"/>
                  <a:pt x="7295356" y="637181"/>
                </a:cubicBezTo>
                <a:cubicBezTo>
                  <a:pt x="7296765" y="658295"/>
                  <a:pt x="7310841" y="670963"/>
                  <a:pt x="7315063" y="673778"/>
                </a:cubicBezTo>
                <a:cubicBezTo>
                  <a:pt x="7319287" y="676593"/>
                  <a:pt x="7322101" y="678002"/>
                  <a:pt x="7322101" y="678002"/>
                </a:cubicBezTo>
                <a:cubicBezTo>
                  <a:pt x="7322101" y="678002"/>
                  <a:pt x="7322101" y="676593"/>
                  <a:pt x="7322101" y="675186"/>
                </a:cubicBezTo>
                <a:cubicBezTo>
                  <a:pt x="7322101" y="672371"/>
                  <a:pt x="7322101" y="669556"/>
                  <a:pt x="7324918" y="665332"/>
                </a:cubicBezTo>
                <a:cubicBezTo>
                  <a:pt x="7330547" y="655479"/>
                  <a:pt x="7338993" y="659701"/>
                  <a:pt x="7343216" y="661110"/>
                </a:cubicBezTo>
                <a:cubicBezTo>
                  <a:pt x="7344623" y="661110"/>
                  <a:pt x="7344623" y="661110"/>
                  <a:pt x="7344623" y="662517"/>
                </a:cubicBezTo>
                <a:cubicBezTo>
                  <a:pt x="7348847" y="663925"/>
                  <a:pt x="7353069" y="666741"/>
                  <a:pt x="7357293" y="666741"/>
                </a:cubicBezTo>
                <a:cubicBezTo>
                  <a:pt x="7361515" y="666741"/>
                  <a:pt x="7367145" y="663925"/>
                  <a:pt x="7369961" y="662517"/>
                </a:cubicBezTo>
                <a:cubicBezTo>
                  <a:pt x="7377000" y="659701"/>
                  <a:pt x="7384037" y="658295"/>
                  <a:pt x="7388261" y="662517"/>
                </a:cubicBezTo>
                <a:cubicBezTo>
                  <a:pt x="7392483" y="666741"/>
                  <a:pt x="7391076" y="676593"/>
                  <a:pt x="7391076" y="678002"/>
                </a:cubicBezTo>
                <a:lnTo>
                  <a:pt x="7391076" y="679408"/>
                </a:lnTo>
                <a:lnTo>
                  <a:pt x="7389668" y="679408"/>
                </a:lnTo>
                <a:cubicBezTo>
                  <a:pt x="7374185" y="673778"/>
                  <a:pt x="7368554" y="675186"/>
                  <a:pt x="7355884" y="676593"/>
                </a:cubicBezTo>
                <a:cubicBezTo>
                  <a:pt x="7348847" y="678002"/>
                  <a:pt x="7341808" y="682224"/>
                  <a:pt x="7336177" y="685039"/>
                </a:cubicBezTo>
                <a:cubicBezTo>
                  <a:pt x="7323509" y="692078"/>
                  <a:pt x="7317879" y="697709"/>
                  <a:pt x="7302395" y="692078"/>
                </a:cubicBezTo>
                <a:cubicBezTo>
                  <a:pt x="7288319" y="686448"/>
                  <a:pt x="7284095" y="678002"/>
                  <a:pt x="7281280" y="672371"/>
                </a:cubicBezTo>
                <a:cubicBezTo>
                  <a:pt x="7279873" y="670963"/>
                  <a:pt x="7279873" y="669556"/>
                  <a:pt x="7279873" y="669556"/>
                </a:cubicBezTo>
                <a:cubicBezTo>
                  <a:pt x="7279873" y="669556"/>
                  <a:pt x="7278465" y="670963"/>
                  <a:pt x="7278465" y="673778"/>
                </a:cubicBezTo>
                <a:cubicBezTo>
                  <a:pt x="7275649" y="680817"/>
                  <a:pt x="7275649" y="694893"/>
                  <a:pt x="7286910" y="707561"/>
                </a:cubicBezTo>
                <a:cubicBezTo>
                  <a:pt x="7302395" y="725860"/>
                  <a:pt x="7317879" y="718823"/>
                  <a:pt x="7327733" y="713192"/>
                </a:cubicBezTo>
                <a:lnTo>
                  <a:pt x="7329140" y="711785"/>
                </a:lnTo>
                <a:lnTo>
                  <a:pt x="7329140" y="713192"/>
                </a:lnTo>
                <a:cubicBezTo>
                  <a:pt x="7329140" y="716007"/>
                  <a:pt x="7330547" y="721638"/>
                  <a:pt x="7333362" y="727269"/>
                </a:cubicBezTo>
                <a:cubicBezTo>
                  <a:pt x="7336177" y="732899"/>
                  <a:pt x="7343216" y="739936"/>
                  <a:pt x="7351662" y="739936"/>
                </a:cubicBezTo>
                <a:cubicBezTo>
                  <a:pt x="7357293" y="739936"/>
                  <a:pt x="7365739" y="735714"/>
                  <a:pt x="7374185" y="730084"/>
                </a:cubicBezTo>
                <a:cubicBezTo>
                  <a:pt x="7389668" y="721638"/>
                  <a:pt x="7402336" y="710377"/>
                  <a:pt x="7422043" y="713192"/>
                </a:cubicBezTo>
                <a:cubicBezTo>
                  <a:pt x="7453011" y="718823"/>
                  <a:pt x="7478349" y="765274"/>
                  <a:pt x="7489610" y="786388"/>
                </a:cubicBezTo>
                <a:cubicBezTo>
                  <a:pt x="7492425" y="790612"/>
                  <a:pt x="7493832" y="794834"/>
                  <a:pt x="7495241" y="796242"/>
                </a:cubicBezTo>
                <a:cubicBezTo>
                  <a:pt x="7495241" y="796242"/>
                  <a:pt x="7495241" y="796242"/>
                  <a:pt x="7495241" y="797649"/>
                </a:cubicBezTo>
                <a:cubicBezTo>
                  <a:pt x="7496647" y="799058"/>
                  <a:pt x="7499463" y="803280"/>
                  <a:pt x="7500871" y="801873"/>
                </a:cubicBezTo>
                <a:cubicBezTo>
                  <a:pt x="7503686" y="800464"/>
                  <a:pt x="7503686" y="797649"/>
                  <a:pt x="7503686" y="797649"/>
                </a:cubicBezTo>
                <a:cubicBezTo>
                  <a:pt x="7506502" y="772313"/>
                  <a:pt x="7523393" y="762459"/>
                  <a:pt x="7533246" y="758237"/>
                </a:cubicBezTo>
                <a:cubicBezTo>
                  <a:pt x="7543099" y="754013"/>
                  <a:pt x="7552953" y="754013"/>
                  <a:pt x="7559991" y="754013"/>
                </a:cubicBezTo>
                <a:cubicBezTo>
                  <a:pt x="7561399" y="754013"/>
                  <a:pt x="7561399" y="754013"/>
                  <a:pt x="7562806" y="754013"/>
                </a:cubicBezTo>
                <a:cubicBezTo>
                  <a:pt x="7568436" y="754013"/>
                  <a:pt x="7576882" y="749791"/>
                  <a:pt x="7588143" y="744160"/>
                </a:cubicBezTo>
                <a:cubicBezTo>
                  <a:pt x="7605035" y="735714"/>
                  <a:pt x="7627558" y="724453"/>
                  <a:pt x="7655709" y="718823"/>
                </a:cubicBezTo>
                <a:cubicBezTo>
                  <a:pt x="7662748" y="717414"/>
                  <a:pt x="7665563" y="718823"/>
                  <a:pt x="7665563" y="721638"/>
                </a:cubicBezTo>
                <a:cubicBezTo>
                  <a:pt x="7665563" y="723045"/>
                  <a:pt x="7665563" y="727269"/>
                  <a:pt x="7662748" y="728675"/>
                </a:cubicBezTo>
                <a:lnTo>
                  <a:pt x="7658526" y="730084"/>
                </a:lnTo>
                <a:cubicBezTo>
                  <a:pt x="7630373" y="742752"/>
                  <a:pt x="7586737" y="758237"/>
                  <a:pt x="7576882" y="789205"/>
                </a:cubicBezTo>
                <a:cubicBezTo>
                  <a:pt x="7574067" y="794834"/>
                  <a:pt x="7574067" y="801873"/>
                  <a:pt x="7574067" y="810319"/>
                </a:cubicBezTo>
                <a:cubicBezTo>
                  <a:pt x="7574067" y="813134"/>
                  <a:pt x="7574067" y="815949"/>
                  <a:pt x="7574067" y="820172"/>
                </a:cubicBezTo>
                <a:cubicBezTo>
                  <a:pt x="7574067" y="855362"/>
                  <a:pt x="7557175" y="876477"/>
                  <a:pt x="7547323" y="886330"/>
                </a:cubicBezTo>
                <a:cubicBezTo>
                  <a:pt x="7537468" y="896184"/>
                  <a:pt x="7527615" y="904628"/>
                  <a:pt x="7520576" y="908852"/>
                </a:cubicBezTo>
                <a:cubicBezTo>
                  <a:pt x="7517763" y="911668"/>
                  <a:pt x="7514948" y="913074"/>
                  <a:pt x="7514948" y="914483"/>
                </a:cubicBezTo>
                <a:cubicBezTo>
                  <a:pt x="7514948" y="914483"/>
                  <a:pt x="7512131" y="917298"/>
                  <a:pt x="7509317" y="921520"/>
                </a:cubicBezTo>
                <a:cubicBezTo>
                  <a:pt x="7502278" y="929966"/>
                  <a:pt x="7492425" y="942636"/>
                  <a:pt x="7482571" y="951082"/>
                </a:cubicBezTo>
                <a:cubicBezTo>
                  <a:pt x="7472718" y="960934"/>
                  <a:pt x="7460050" y="969380"/>
                  <a:pt x="7455826" y="969380"/>
                </a:cubicBezTo>
                <a:cubicBezTo>
                  <a:pt x="7454420" y="969380"/>
                  <a:pt x="7454420" y="969380"/>
                  <a:pt x="7454420" y="969380"/>
                </a:cubicBezTo>
                <a:cubicBezTo>
                  <a:pt x="7454420" y="969380"/>
                  <a:pt x="7453011" y="967974"/>
                  <a:pt x="7453011" y="967974"/>
                </a:cubicBezTo>
                <a:cubicBezTo>
                  <a:pt x="7453011" y="965158"/>
                  <a:pt x="7458642" y="958119"/>
                  <a:pt x="7467088" y="946858"/>
                </a:cubicBezTo>
                <a:cubicBezTo>
                  <a:pt x="7476940" y="935597"/>
                  <a:pt x="7481164" y="928559"/>
                  <a:pt x="7481164" y="927151"/>
                </a:cubicBezTo>
                <a:cubicBezTo>
                  <a:pt x="7479755" y="927151"/>
                  <a:pt x="7474125" y="929966"/>
                  <a:pt x="7467088" y="932781"/>
                </a:cubicBezTo>
                <a:cubicBezTo>
                  <a:pt x="7462864" y="934190"/>
                  <a:pt x="7458642" y="937005"/>
                  <a:pt x="7453011" y="939821"/>
                </a:cubicBezTo>
                <a:cubicBezTo>
                  <a:pt x="7433304" y="949673"/>
                  <a:pt x="7391076" y="963750"/>
                  <a:pt x="7385444" y="958119"/>
                </a:cubicBezTo>
                <a:cubicBezTo>
                  <a:pt x="7384037" y="956712"/>
                  <a:pt x="7384037" y="956712"/>
                  <a:pt x="7385444" y="955304"/>
                </a:cubicBezTo>
                <a:cubicBezTo>
                  <a:pt x="7385444" y="952489"/>
                  <a:pt x="7392483" y="949673"/>
                  <a:pt x="7405151" y="942636"/>
                </a:cubicBezTo>
                <a:cubicBezTo>
                  <a:pt x="7426267" y="932781"/>
                  <a:pt x="7458642" y="915891"/>
                  <a:pt x="7465679" y="893369"/>
                </a:cubicBezTo>
                <a:cubicBezTo>
                  <a:pt x="7461457" y="893369"/>
                  <a:pt x="7447381" y="893369"/>
                  <a:pt x="7429082" y="866623"/>
                </a:cubicBezTo>
                <a:cubicBezTo>
                  <a:pt x="7406560" y="832841"/>
                  <a:pt x="7393890" y="801873"/>
                  <a:pt x="7368554" y="801873"/>
                </a:cubicBezTo>
                <a:cubicBezTo>
                  <a:pt x="7338993" y="801873"/>
                  <a:pt x="7277058" y="842694"/>
                  <a:pt x="7254535" y="856770"/>
                </a:cubicBezTo>
                <a:cubicBezTo>
                  <a:pt x="7236237" y="824395"/>
                  <a:pt x="7226383" y="789205"/>
                  <a:pt x="7226383" y="749791"/>
                </a:cubicBezTo>
                <a:cubicBezTo>
                  <a:pt x="7226383" y="628735"/>
                  <a:pt x="7324918" y="530201"/>
                  <a:pt x="7445974" y="530201"/>
                </a:cubicBezTo>
                <a:close/>
                <a:moveTo>
                  <a:pt x="7447381" y="511901"/>
                </a:moveTo>
                <a:cubicBezTo>
                  <a:pt x="7315063" y="511901"/>
                  <a:pt x="7208084" y="618881"/>
                  <a:pt x="7208084" y="751198"/>
                </a:cubicBezTo>
                <a:cubicBezTo>
                  <a:pt x="7208084" y="883515"/>
                  <a:pt x="7315063" y="990494"/>
                  <a:pt x="7447381" y="990494"/>
                </a:cubicBezTo>
                <a:cubicBezTo>
                  <a:pt x="7579698" y="990494"/>
                  <a:pt x="7686677" y="883515"/>
                  <a:pt x="7686677" y="751198"/>
                </a:cubicBezTo>
                <a:cubicBezTo>
                  <a:pt x="7686677" y="618881"/>
                  <a:pt x="7579698" y="511901"/>
                  <a:pt x="7447381" y="511901"/>
                </a:cubicBezTo>
                <a:close/>
                <a:moveTo>
                  <a:pt x="0" y="0"/>
                </a:moveTo>
                <a:lnTo>
                  <a:pt x="8131175" y="0"/>
                </a:lnTo>
                <a:lnTo>
                  <a:pt x="8131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7CDAAF-2AF2-4783-8DE4-27BC54426A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8AD48C63-78A6-4D64-B839-4870EFEB9C1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6F67282A-0B1D-4D76-B107-8DCB3AECBB8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2185" y="112940"/>
            <a:ext cx="2457449" cy="115416"/>
          </a:xfrm>
        </p:spPr>
        <p:txBody>
          <a:bodyPr wrap="square">
            <a:spAutoFit/>
          </a:bodyPr>
          <a:lstStyle>
            <a:lvl1pPr>
              <a:defRPr sz="75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800" b="0" i="1">
                <a:solidFill>
                  <a:schemeClr val="accent1"/>
                </a:solidFill>
              </a:defRPr>
            </a:lvl2pPr>
            <a:lvl3pPr>
              <a:defRPr sz="1800" b="0" i="1">
                <a:solidFill>
                  <a:schemeClr val="accent1"/>
                </a:solidFill>
              </a:defRPr>
            </a:lvl3pPr>
            <a:lvl4pPr>
              <a:defRPr sz="1800" b="0" i="1">
                <a:solidFill>
                  <a:schemeClr val="accent1"/>
                </a:solidFill>
              </a:defRPr>
            </a:lvl4pPr>
            <a:lvl5pPr>
              <a:defRPr sz="18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F6B53470-0259-46C9-834C-F4D37AF1F5D7}"/>
              </a:ext>
            </a:extLst>
          </p:cNvPr>
          <p:cNvSpPr>
            <a:spLocks noGrp="1"/>
          </p:cNvSpPr>
          <p:nvPr>
            <p:ph type="subTitle" idx="18"/>
          </p:nvPr>
        </p:nvSpPr>
        <p:spPr>
          <a:xfrm>
            <a:off x="332185" y="618295"/>
            <a:ext cx="2457449" cy="553998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800" b="0" i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225"/>
              </a:spcAft>
              <a:buNone/>
              <a:defRPr sz="1800" i="1">
                <a:solidFill>
                  <a:schemeClr val="accent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BAB7618-9CB9-4FCF-B729-BB2ED3BB6F5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First name last name, date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3F57FC97-3B9E-4E51-B8C3-04D78A8E2A27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3"/>
            </p:custDataLst>
          </p:nvPr>
        </p:nvSpPr>
        <p:spPr>
          <a:xfrm>
            <a:off x="6724036" y="4885343"/>
            <a:ext cx="1728839" cy="115416"/>
          </a:xfrm>
        </p:spPr>
        <p:txBody>
          <a:bodyPr/>
          <a:lstStyle>
            <a:lvl1pPr algn="r">
              <a:defRPr sz="750" b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Internal confidential  •  Copyright® 202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585513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2343">
          <p15:clr>
            <a:srgbClr val="9FCC3B"/>
          </p15:clr>
        </p15:guide>
        <p15:guide id="2" orient="horz" pos="1139">
          <p15:clr>
            <a:srgbClr val="9FCC3B"/>
          </p15:clr>
        </p15:guide>
        <p15:guide id="3" pos="279">
          <p15:clr>
            <a:srgbClr val="9FCC3B"/>
          </p15:clr>
        </p15:guide>
        <p15:guide id="4" orient="horz" pos="2591">
          <p15:clr>
            <a:srgbClr val="9FCC3B"/>
          </p15:clr>
        </p15:guide>
        <p15:guide id="5" orient="horz" pos="4042">
          <p15:clr>
            <a:srgbClr val="9FCC3B"/>
          </p15:clr>
        </p15:guide>
        <p15:guide id="6" pos="2547">
          <p15:clr>
            <a:srgbClr val="9FCC3B"/>
          </p15:clr>
        </p15:guide>
        <p15:guide id="7" pos="7401">
          <p15:clr>
            <a:srgbClr val="9FCC3B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+Landscape Picture Top | Color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01B73DB-CB0F-422F-82F1-8567A3CE740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683232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2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01B73DB-CB0F-422F-82F1-8567A3CE74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911E4CFB-F918-4789-92B2-1B3435FF2FCF}"/>
              </a:ext>
            </a:extLst>
          </p:cNvPr>
          <p:cNvSpPr/>
          <p:nvPr/>
        </p:nvSpPr>
        <p:spPr>
          <a:xfrm>
            <a:off x="0" y="0"/>
            <a:ext cx="9145192" cy="2565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atin typeface="+mn-lt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7CDAAF-2AF2-4783-8DE4-27BC54426A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8AD48C63-78A6-4D64-B839-4870EFEB9C1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E6125C6-79DE-4B7F-A80F-BEDA449C7C1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5192" cy="2571750"/>
          </a:xfrm>
          <a:custGeom>
            <a:avLst/>
            <a:gdLst>
              <a:gd name="connsiteX0" fmla="*/ 11616772 w 12193588"/>
              <a:gd name="connsiteY0" fmla="*/ 766683 h 3429000"/>
              <a:gd name="connsiteX1" fmla="*/ 11606919 w 12193588"/>
              <a:gd name="connsiteY1" fmla="*/ 776535 h 3429000"/>
              <a:gd name="connsiteX2" fmla="*/ 11616772 w 12193588"/>
              <a:gd name="connsiteY2" fmla="*/ 786388 h 3429000"/>
              <a:gd name="connsiteX3" fmla="*/ 11626626 w 12193588"/>
              <a:gd name="connsiteY3" fmla="*/ 776535 h 3429000"/>
              <a:gd name="connsiteX4" fmla="*/ 11616772 w 12193588"/>
              <a:gd name="connsiteY4" fmla="*/ 766683 h 3429000"/>
              <a:gd name="connsiteX5" fmla="*/ 11435365 w 12193588"/>
              <a:gd name="connsiteY5" fmla="*/ 690142 h 3429000"/>
              <a:gd name="connsiteX6" fmla="*/ 11450673 w 12193588"/>
              <a:gd name="connsiteY6" fmla="*/ 692078 h 3429000"/>
              <a:gd name="connsiteX7" fmla="*/ 11452080 w 12193588"/>
              <a:gd name="connsiteY7" fmla="*/ 692078 h 3429000"/>
              <a:gd name="connsiteX8" fmla="*/ 11450673 w 12193588"/>
              <a:gd name="connsiteY8" fmla="*/ 693485 h 3429000"/>
              <a:gd name="connsiteX9" fmla="*/ 11430966 w 12193588"/>
              <a:gd name="connsiteY9" fmla="*/ 710377 h 3429000"/>
              <a:gd name="connsiteX10" fmla="*/ 11414074 w 12193588"/>
              <a:gd name="connsiteY10" fmla="*/ 714599 h 3429000"/>
              <a:gd name="connsiteX11" fmla="*/ 11399998 w 12193588"/>
              <a:gd name="connsiteY11" fmla="*/ 711785 h 3429000"/>
              <a:gd name="connsiteX12" fmla="*/ 11416890 w 12193588"/>
              <a:gd name="connsiteY12" fmla="*/ 697709 h 3429000"/>
              <a:gd name="connsiteX13" fmla="*/ 11435365 w 12193588"/>
              <a:gd name="connsiteY13" fmla="*/ 690142 h 3429000"/>
              <a:gd name="connsiteX14" fmla="*/ 11461933 w 12193588"/>
              <a:gd name="connsiteY14" fmla="*/ 609028 h 3429000"/>
              <a:gd name="connsiteX15" fmla="*/ 11474602 w 12193588"/>
              <a:gd name="connsiteY15" fmla="*/ 618881 h 3429000"/>
              <a:gd name="connsiteX16" fmla="*/ 11461933 w 12193588"/>
              <a:gd name="connsiteY16" fmla="*/ 628735 h 3429000"/>
              <a:gd name="connsiteX17" fmla="*/ 11449265 w 12193588"/>
              <a:gd name="connsiteY17" fmla="*/ 618881 h 3429000"/>
              <a:gd name="connsiteX18" fmla="*/ 11461933 w 12193588"/>
              <a:gd name="connsiteY18" fmla="*/ 609028 h 3429000"/>
              <a:gd name="connsiteX19" fmla="*/ 11508386 w 12193588"/>
              <a:gd name="connsiteY19" fmla="*/ 530201 h 3429000"/>
              <a:gd name="connsiteX20" fmla="*/ 11674485 w 12193588"/>
              <a:gd name="connsiteY20" fmla="*/ 606213 h 3429000"/>
              <a:gd name="connsiteX21" fmla="*/ 11678708 w 12193588"/>
              <a:gd name="connsiteY21" fmla="*/ 679408 h 3429000"/>
              <a:gd name="connsiteX22" fmla="*/ 11625218 w 12193588"/>
              <a:gd name="connsiteY22" fmla="*/ 676593 h 3429000"/>
              <a:gd name="connsiteX23" fmla="*/ 11629442 w 12193588"/>
              <a:gd name="connsiteY23" fmla="*/ 666741 h 3429000"/>
              <a:gd name="connsiteX24" fmla="*/ 11636479 w 12193588"/>
              <a:gd name="connsiteY24" fmla="*/ 665332 h 3429000"/>
              <a:gd name="connsiteX25" fmla="*/ 11637887 w 12193588"/>
              <a:gd name="connsiteY25" fmla="*/ 661110 h 3429000"/>
              <a:gd name="connsiteX26" fmla="*/ 11620996 w 12193588"/>
              <a:gd name="connsiteY26" fmla="*/ 655479 h 3429000"/>
              <a:gd name="connsiteX27" fmla="*/ 11599880 w 12193588"/>
              <a:gd name="connsiteY27" fmla="*/ 656888 h 3429000"/>
              <a:gd name="connsiteX28" fmla="*/ 11591434 w 12193588"/>
              <a:gd name="connsiteY28" fmla="*/ 654071 h 3429000"/>
              <a:gd name="connsiteX29" fmla="*/ 11588619 w 12193588"/>
              <a:gd name="connsiteY29" fmla="*/ 649849 h 3429000"/>
              <a:gd name="connsiteX30" fmla="*/ 11591434 w 12193588"/>
              <a:gd name="connsiteY30" fmla="*/ 641403 h 3429000"/>
              <a:gd name="connsiteX31" fmla="*/ 11599880 w 12193588"/>
              <a:gd name="connsiteY31" fmla="*/ 639996 h 3429000"/>
              <a:gd name="connsiteX32" fmla="*/ 11601289 w 12193588"/>
              <a:gd name="connsiteY32" fmla="*/ 635772 h 3429000"/>
              <a:gd name="connsiteX33" fmla="*/ 11584397 w 12193588"/>
              <a:gd name="connsiteY33" fmla="*/ 630142 h 3429000"/>
              <a:gd name="connsiteX34" fmla="*/ 11563283 w 12193588"/>
              <a:gd name="connsiteY34" fmla="*/ 631550 h 3429000"/>
              <a:gd name="connsiteX35" fmla="*/ 11554837 w 12193588"/>
              <a:gd name="connsiteY35" fmla="*/ 628735 h 3429000"/>
              <a:gd name="connsiteX36" fmla="*/ 11552022 w 12193588"/>
              <a:gd name="connsiteY36" fmla="*/ 624511 h 3429000"/>
              <a:gd name="connsiteX37" fmla="*/ 11554837 w 12193588"/>
              <a:gd name="connsiteY37" fmla="*/ 614658 h 3429000"/>
              <a:gd name="connsiteX38" fmla="*/ 11563283 w 12193588"/>
              <a:gd name="connsiteY38" fmla="*/ 613250 h 3429000"/>
              <a:gd name="connsiteX39" fmla="*/ 11564690 w 12193588"/>
              <a:gd name="connsiteY39" fmla="*/ 609028 h 3429000"/>
              <a:gd name="connsiteX40" fmla="*/ 11547798 w 12193588"/>
              <a:gd name="connsiteY40" fmla="*/ 603397 h 3429000"/>
              <a:gd name="connsiteX41" fmla="*/ 11526684 w 12193588"/>
              <a:gd name="connsiteY41" fmla="*/ 604804 h 3429000"/>
              <a:gd name="connsiteX42" fmla="*/ 11522462 w 12193588"/>
              <a:gd name="connsiteY42" fmla="*/ 603397 h 3429000"/>
              <a:gd name="connsiteX43" fmla="*/ 11521054 w 12193588"/>
              <a:gd name="connsiteY43" fmla="*/ 600582 h 3429000"/>
              <a:gd name="connsiteX44" fmla="*/ 11522462 w 12193588"/>
              <a:gd name="connsiteY44" fmla="*/ 593545 h 3429000"/>
              <a:gd name="connsiteX45" fmla="*/ 11523869 w 12193588"/>
              <a:gd name="connsiteY45" fmla="*/ 573836 h 3429000"/>
              <a:gd name="connsiteX46" fmla="*/ 11511199 w 12193588"/>
              <a:gd name="connsiteY46" fmla="*/ 551315 h 3429000"/>
              <a:gd name="connsiteX47" fmla="*/ 11506977 w 12193588"/>
              <a:gd name="connsiteY47" fmla="*/ 549907 h 3429000"/>
              <a:gd name="connsiteX48" fmla="*/ 11505570 w 12193588"/>
              <a:gd name="connsiteY48" fmla="*/ 555537 h 3429000"/>
              <a:gd name="connsiteX49" fmla="*/ 11480233 w 12193588"/>
              <a:gd name="connsiteY49" fmla="*/ 589321 h 3429000"/>
              <a:gd name="connsiteX50" fmla="*/ 11471787 w 12193588"/>
              <a:gd name="connsiteY50" fmla="*/ 589321 h 3429000"/>
              <a:gd name="connsiteX51" fmla="*/ 11466156 w 12193588"/>
              <a:gd name="connsiteY51" fmla="*/ 589321 h 3429000"/>
              <a:gd name="connsiteX52" fmla="*/ 11463341 w 12193588"/>
              <a:gd name="connsiteY52" fmla="*/ 589321 h 3429000"/>
              <a:gd name="connsiteX53" fmla="*/ 11457710 w 12193588"/>
              <a:gd name="connsiteY53" fmla="*/ 589321 h 3429000"/>
              <a:gd name="connsiteX54" fmla="*/ 11449265 w 12193588"/>
              <a:gd name="connsiteY54" fmla="*/ 590728 h 3429000"/>
              <a:gd name="connsiteX55" fmla="*/ 11429557 w 12193588"/>
              <a:gd name="connsiteY55" fmla="*/ 610435 h 3429000"/>
              <a:gd name="connsiteX56" fmla="*/ 11429557 w 12193588"/>
              <a:gd name="connsiteY56" fmla="*/ 613250 h 3429000"/>
              <a:gd name="connsiteX57" fmla="*/ 11426742 w 12193588"/>
              <a:gd name="connsiteY57" fmla="*/ 617474 h 3429000"/>
              <a:gd name="connsiteX58" fmla="*/ 11415481 w 12193588"/>
              <a:gd name="connsiteY58" fmla="*/ 618881 h 3429000"/>
              <a:gd name="connsiteX59" fmla="*/ 11373253 w 12193588"/>
              <a:gd name="connsiteY59" fmla="*/ 607619 h 3429000"/>
              <a:gd name="connsiteX60" fmla="*/ 11370438 w 12193588"/>
              <a:gd name="connsiteY60" fmla="*/ 606213 h 3429000"/>
              <a:gd name="connsiteX61" fmla="*/ 11369030 w 12193588"/>
              <a:gd name="connsiteY61" fmla="*/ 607619 h 3429000"/>
              <a:gd name="connsiteX62" fmla="*/ 11357768 w 12193588"/>
              <a:gd name="connsiteY62" fmla="*/ 637181 h 3429000"/>
              <a:gd name="connsiteX63" fmla="*/ 11377475 w 12193588"/>
              <a:gd name="connsiteY63" fmla="*/ 673778 h 3429000"/>
              <a:gd name="connsiteX64" fmla="*/ 11384513 w 12193588"/>
              <a:gd name="connsiteY64" fmla="*/ 678002 h 3429000"/>
              <a:gd name="connsiteX65" fmla="*/ 11384513 w 12193588"/>
              <a:gd name="connsiteY65" fmla="*/ 675186 h 3429000"/>
              <a:gd name="connsiteX66" fmla="*/ 11387330 w 12193588"/>
              <a:gd name="connsiteY66" fmla="*/ 665332 h 3429000"/>
              <a:gd name="connsiteX67" fmla="*/ 11405628 w 12193588"/>
              <a:gd name="connsiteY67" fmla="*/ 661110 h 3429000"/>
              <a:gd name="connsiteX68" fmla="*/ 11407035 w 12193588"/>
              <a:gd name="connsiteY68" fmla="*/ 662517 h 3429000"/>
              <a:gd name="connsiteX69" fmla="*/ 11419705 w 12193588"/>
              <a:gd name="connsiteY69" fmla="*/ 666741 h 3429000"/>
              <a:gd name="connsiteX70" fmla="*/ 11432373 w 12193588"/>
              <a:gd name="connsiteY70" fmla="*/ 662517 h 3429000"/>
              <a:gd name="connsiteX71" fmla="*/ 11450673 w 12193588"/>
              <a:gd name="connsiteY71" fmla="*/ 662517 h 3429000"/>
              <a:gd name="connsiteX72" fmla="*/ 11453488 w 12193588"/>
              <a:gd name="connsiteY72" fmla="*/ 678002 h 3429000"/>
              <a:gd name="connsiteX73" fmla="*/ 11453488 w 12193588"/>
              <a:gd name="connsiteY73" fmla="*/ 679408 h 3429000"/>
              <a:gd name="connsiteX74" fmla="*/ 11452080 w 12193588"/>
              <a:gd name="connsiteY74" fmla="*/ 679408 h 3429000"/>
              <a:gd name="connsiteX75" fmla="*/ 11418296 w 12193588"/>
              <a:gd name="connsiteY75" fmla="*/ 676593 h 3429000"/>
              <a:gd name="connsiteX76" fmla="*/ 11398589 w 12193588"/>
              <a:gd name="connsiteY76" fmla="*/ 685039 h 3429000"/>
              <a:gd name="connsiteX77" fmla="*/ 11364807 w 12193588"/>
              <a:gd name="connsiteY77" fmla="*/ 692078 h 3429000"/>
              <a:gd name="connsiteX78" fmla="*/ 11343692 w 12193588"/>
              <a:gd name="connsiteY78" fmla="*/ 672371 h 3429000"/>
              <a:gd name="connsiteX79" fmla="*/ 11342285 w 12193588"/>
              <a:gd name="connsiteY79" fmla="*/ 669556 h 3429000"/>
              <a:gd name="connsiteX80" fmla="*/ 11340877 w 12193588"/>
              <a:gd name="connsiteY80" fmla="*/ 673778 h 3429000"/>
              <a:gd name="connsiteX81" fmla="*/ 11349322 w 12193588"/>
              <a:gd name="connsiteY81" fmla="*/ 707561 h 3429000"/>
              <a:gd name="connsiteX82" fmla="*/ 11390145 w 12193588"/>
              <a:gd name="connsiteY82" fmla="*/ 713192 h 3429000"/>
              <a:gd name="connsiteX83" fmla="*/ 11391552 w 12193588"/>
              <a:gd name="connsiteY83" fmla="*/ 711785 h 3429000"/>
              <a:gd name="connsiteX84" fmla="*/ 11391552 w 12193588"/>
              <a:gd name="connsiteY84" fmla="*/ 713192 h 3429000"/>
              <a:gd name="connsiteX85" fmla="*/ 11395774 w 12193588"/>
              <a:gd name="connsiteY85" fmla="*/ 727268 h 3429000"/>
              <a:gd name="connsiteX86" fmla="*/ 11414074 w 12193588"/>
              <a:gd name="connsiteY86" fmla="*/ 739936 h 3429000"/>
              <a:gd name="connsiteX87" fmla="*/ 11436597 w 12193588"/>
              <a:gd name="connsiteY87" fmla="*/ 730084 h 3429000"/>
              <a:gd name="connsiteX88" fmla="*/ 11484455 w 12193588"/>
              <a:gd name="connsiteY88" fmla="*/ 713192 h 3429000"/>
              <a:gd name="connsiteX89" fmla="*/ 11552022 w 12193588"/>
              <a:gd name="connsiteY89" fmla="*/ 786388 h 3429000"/>
              <a:gd name="connsiteX90" fmla="*/ 11557653 w 12193588"/>
              <a:gd name="connsiteY90" fmla="*/ 796242 h 3429000"/>
              <a:gd name="connsiteX91" fmla="*/ 11557653 w 12193588"/>
              <a:gd name="connsiteY91" fmla="*/ 797649 h 3429000"/>
              <a:gd name="connsiteX92" fmla="*/ 11563283 w 12193588"/>
              <a:gd name="connsiteY92" fmla="*/ 801873 h 3429000"/>
              <a:gd name="connsiteX93" fmla="*/ 11566098 w 12193588"/>
              <a:gd name="connsiteY93" fmla="*/ 797649 h 3429000"/>
              <a:gd name="connsiteX94" fmla="*/ 11595658 w 12193588"/>
              <a:gd name="connsiteY94" fmla="*/ 758237 h 3429000"/>
              <a:gd name="connsiteX95" fmla="*/ 11622403 w 12193588"/>
              <a:gd name="connsiteY95" fmla="*/ 754013 h 3429000"/>
              <a:gd name="connsiteX96" fmla="*/ 11625218 w 12193588"/>
              <a:gd name="connsiteY96" fmla="*/ 754013 h 3429000"/>
              <a:gd name="connsiteX97" fmla="*/ 11650555 w 12193588"/>
              <a:gd name="connsiteY97" fmla="*/ 744160 h 3429000"/>
              <a:gd name="connsiteX98" fmla="*/ 11718121 w 12193588"/>
              <a:gd name="connsiteY98" fmla="*/ 718823 h 3429000"/>
              <a:gd name="connsiteX99" fmla="*/ 11727975 w 12193588"/>
              <a:gd name="connsiteY99" fmla="*/ 721638 h 3429000"/>
              <a:gd name="connsiteX100" fmla="*/ 11725160 w 12193588"/>
              <a:gd name="connsiteY100" fmla="*/ 728675 h 3429000"/>
              <a:gd name="connsiteX101" fmla="*/ 11720938 w 12193588"/>
              <a:gd name="connsiteY101" fmla="*/ 730084 h 3429000"/>
              <a:gd name="connsiteX102" fmla="*/ 11639294 w 12193588"/>
              <a:gd name="connsiteY102" fmla="*/ 789205 h 3429000"/>
              <a:gd name="connsiteX103" fmla="*/ 11636479 w 12193588"/>
              <a:gd name="connsiteY103" fmla="*/ 810319 h 3429000"/>
              <a:gd name="connsiteX104" fmla="*/ 11636479 w 12193588"/>
              <a:gd name="connsiteY104" fmla="*/ 820171 h 3429000"/>
              <a:gd name="connsiteX105" fmla="*/ 11609735 w 12193588"/>
              <a:gd name="connsiteY105" fmla="*/ 886330 h 3429000"/>
              <a:gd name="connsiteX106" fmla="*/ 11582988 w 12193588"/>
              <a:gd name="connsiteY106" fmla="*/ 908852 h 3429000"/>
              <a:gd name="connsiteX107" fmla="*/ 11577360 w 12193588"/>
              <a:gd name="connsiteY107" fmla="*/ 914483 h 3429000"/>
              <a:gd name="connsiteX108" fmla="*/ 11571729 w 12193588"/>
              <a:gd name="connsiteY108" fmla="*/ 921520 h 3429000"/>
              <a:gd name="connsiteX109" fmla="*/ 11544983 w 12193588"/>
              <a:gd name="connsiteY109" fmla="*/ 951082 h 3429000"/>
              <a:gd name="connsiteX110" fmla="*/ 11518238 w 12193588"/>
              <a:gd name="connsiteY110" fmla="*/ 969380 h 3429000"/>
              <a:gd name="connsiteX111" fmla="*/ 11516832 w 12193588"/>
              <a:gd name="connsiteY111" fmla="*/ 969380 h 3429000"/>
              <a:gd name="connsiteX112" fmla="*/ 11515423 w 12193588"/>
              <a:gd name="connsiteY112" fmla="*/ 967973 h 3429000"/>
              <a:gd name="connsiteX113" fmla="*/ 11529500 w 12193588"/>
              <a:gd name="connsiteY113" fmla="*/ 946858 h 3429000"/>
              <a:gd name="connsiteX114" fmla="*/ 11543576 w 12193588"/>
              <a:gd name="connsiteY114" fmla="*/ 927151 h 3429000"/>
              <a:gd name="connsiteX115" fmla="*/ 11529500 w 12193588"/>
              <a:gd name="connsiteY115" fmla="*/ 932781 h 3429000"/>
              <a:gd name="connsiteX116" fmla="*/ 11515423 w 12193588"/>
              <a:gd name="connsiteY116" fmla="*/ 939821 h 3429000"/>
              <a:gd name="connsiteX117" fmla="*/ 11447856 w 12193588"/>
              <a:gd name="connsiteY117" fmla="*/ 958119 h 3429000"/>
              <a:gd name="connsiteX118" fmla="*/ 11447856 w 12193588"/>
              <a:gd name="connsiteY118" fmla="*/ 955304 h 3429000"/>
              <a:gd name="connsiteX119" fmla="*/ 11467563 w 12193588"/>
              <a:gd name="connsiteY119" fmla="*/ 942636 h 3429000"/>
              <a:gd name="connsiteX120" fmla="*/ 11528091 w 12193588"/>
              <a:gd name="connsiteY120" fmla="*/ 893369 h 3429000"/>
              <a:gd name="connsiteX121" fmla="*/ 11491494 w 12193588"/>
              <a:gd name="connsiteY121" fmla="*/ 866623 h 3429000"/>
              <a:gd name="connsiteX122" fmla="*/ 11430966 w 12193588"/>
              <a:gd name="connsiteY122" fmla="*/ 801873 h 3429000"/>
              <a:gd name="connsiteX123" fmla="*/ 11316947 w 12193588"/>
              <a:gd name="connsiteY123" fmla="*/ 856770 h 3429000"/>
              <a:gd name="connsiteX124" fmla="*/ 11288795 w 12193588"/>
              <a:gd name="connsiteY124" fmla="*/ 749791 h 3429000"/>
              <a:gd name="connsiteX125" fmla="*/ 11508386 w 12193588"/>
              <a:gd name="connsiteY125" fmla="*/ 530201 h 3429000"/>
              <a:gd name="connsiteX126" fmla="*/ 11509793 w 12193588"/>
              <a:gd name="connsiteY126" fmla="*/ 511901 h 3429000"/>
              <a:gd name="connsiteX127" fmla="*/ 11270496 w 12193588"/>
              <a:gd name="connsiteY127" fmla="*/ 751198 h 3429000"/>
              <a:gd name="connsiteX128" fmla="*/ 11509793 w 12193588"/>
              <a:gd name="connsiteY128" fmla="*/ 990494 h 3429000"/>
              <a:gd name="connsiteX129" fmla="*/ 11749089 w 12193588"/>
              <a:gd name="connsiteY129" fmla="*/ 751198 h 3429000"/>
              <a:gd name="connsiteX130" fmla="*/ 11509793 w 12193588"/>
              <a:gd name="connsiteY130" fmla="*/ 511901 h 3429000"/>
              <a:gd name="connsiteX131" fmla="*/ 0 w 12193588"/>
              <a:gd name="connsiteY131" fmla="*/ 0 h 3429000"/>
              <a:gd name="connsiteX132" fmla="*/ 12193588 w 12193588"/>
              <a:gd name="connsiteY132" fmla="*/ 0 h 3429000"/>
              <a:gd name="connsiteX133" fmla="*/ 12193588 w 12193588"/>
              <a:gd name="connsiteY133" fmla="*/ 3429000 h 3429000"/>
              <a:gd name="connsiteX134" fmla="*/ 0 w 12193588"/>
              <a:gd name="connsiteY134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</a:cxnLst>
            <a:rect l="l" t="t" r="r" b="b"/>
            <a:pathLst>
              <a:path w="12193588" h="3429000">
                <a:moveTo>
                  <a:pt x="11616772" y="766683"/>
                </a:moveTo>
                <a:cubicBezTo>
                  <a:pt x="11611141" y="766683"/>
                  <a:pt x="11606919" y="770905"/>
                  <a:pt x="11606919" y="776535"/>
                </a:cubicBezTo>
                <a:cubicBezTo>
                  <a:pt x="11606919" y="782166"/>
                  <a:pt x="11611141" y="786388"/>
                  <a:pt x="11616772" y="786388"/>
                </a:cubicBezTo>
                <a:cubicBezTo>
                  <a:pt x="11622403" y="784981"/>
                  <a:pt x="11626626" y="780759"/>
                  <a:pt x="11626626" y="776535"/>
                </a:cubicBezTo>
                <a:cubicBezTo>
                  <a:pt x="11626626" y="770905"/>
                  <a:pt x="11622403" y="766683"/>
                  <a:pt x="11616772" y="766683"/>
                </a:cubicBezTo>
                <a:close/>
                <a:moveTo>
                  <a:pt x="11435365" y="690142"/>
                </a:moveTo>
                <a:cubicBezTo>
                  <a:pt x="11440819" y="689262"/>
                  <a:pt x="11445746" y="689966"/>
                  <a:pt x="11450673" y="692078"/>
                </a:cubicBezTo>
                <a:lnTo>
                  <a:pt x="11452080" y="692078"/>
                </a:lnTo>
                <a:cubicBezTo>
                  <a:pt x="11452080" y="692078"/>
                  <a:pt x="11452080" y="693485"/>
                  <a:pt x="11450673" y="693485"/>
                </a:cubicBezTo>
                <a:cubicBezTo>
                  <a:pt x="11447856" y="699116"/>
                  <a:pt x="11442227" y="706155"/>
                  <a:pt x="11430966" y="710377"/>
                </a:cubicBezTo>
                <a:cubicBezTo>
                  <a:pt x="11423927" y="713192"/>
                  <a:pt x="11419705" y="714599"/>
                  <a:pt x="11414074" y="714599"/>
                </a:cubicBezTo>
                <a:cubicBezTo>
                  <a:pt x="11407035" y="714599"/>
                  <a:pt x="11401405" y="713192"/>
                  <a:pt x="11399998" y="711785"/>
                </a:cubicBezTo>
                <a:cubicBezTo>
                  <a:pt x="11399998" y="711785"/>
                  <a:pt x="11407035" y="704746"/>
                  <a:pt x="11416890" y="697709"/>
                </a:cubicBezTo>
                <a:cubicBezTo>
                  <a:pt x="11423928" y="693486"/>
                  <a:pt x="11429910" y="691022"/>
                  <a:pt x="11435365" y="690142"/>
                </a:cubicBezTo>
                <a:close/>
                <a:moveTo>
                  <a:pt x="11461933" y="609028"/>
                </a:moveTo>
                <a:cubicBezTo>
                  <a:pt x="11468972" y="609028"/>
                  <a:pt x="11474602" y="613250"/>
                  <a:pt x="11474602" y="618881"/>
                </a:cubicBezTo>
                <a:cubicBezTo>
                  <a:pt x="11474602" y="624511"/>
                  <a:pt x="11468972" y="628735"/>
                  <a:pt x="11461933" y="628735"/>
                </a:cubicBezTo>
                <a:cubicBezTo>
                  <a:pt x="11454895" y="628735"/>
                  <a:pt x="11449265" y="624511"/>
                  <a:pt x="11449265" y="618881"/>
                </a:cubicBezTo>
                <a:cubicBezTo>
                  <a:pt x="11449265" y="613250"/>
                  <a:pt x="11454895" y="609028"/>
                  <a:pt x="11461933" y="609028"/>
                </a:cubicBezTo>
                <a:close/>
                <a:moveTo>
                  <a:pt x="11508386" y="530201"/>
                </a:moveTo>
                <a:cubicBezTo>
                  <a:pt x="11574543" y="530201"/>
                  <a:pt x="11633664" y="559761"/>
                  <a:pt x="11674485" y="606213"/>
                </a:cubicBezTo>
                <a:cubicBezTo>
                  <a:pt x="11699822" y="638588"/>
                  <a:pt x="11695600" y="665332"/>
                  <a:pt x="11678708" y="679408"/>
                </a:cubicBezTo>
                <a:cubicBezTo>
                  <a:pt x="11657595" y="694893"/>
                  <a:pt x="11629442" y="689263"/>
                  <a:pt x="11625218" y="676593"/>
                </a:cubicBezTo>
                <a:cubicBezTo>
                  <a:pt x="11623811" y="669556"/>
                  <a:pt x="11629442" y="666741"/>
                  <a:pt x="11629442" y="666741"/>
                </a:cubicBezTo>
                <a:cubicBezTo>
                  <a:pt x="11630848" y="665332"/>
                  <a:pt x="11633664" y="665332"/>
                  <a:pt x="11636479" y="665332"/>
                </a:cubicBezTo>
                <a:cubicBezTo>
                  <a:pt x="11640703" y="665332"/>
                  <a:pt x="11640703" y="662517"/>
                  <a:pt x="11637887" y="661110"/>
                </a:cubicBezTo>
                <a:cubicBezTo>
                  <a:pt x="11633664" y="658295"/>
                  <a:pt x="11626626" y="655479"/>
                  <a:pt x="11620996" y="655479"/>
                </a:cubicBezTo>
                <a:cubicBezTo>
                  <a:pt x="11612550" y="655479"/>
                  <a:pt x="11599880" y="656888"/>
                  <a:pt x="11599880" y="656888"/>
                </a:cubicBezTo>
                <a:cubicBezTo>
                  <a:pt x="11597065" y="656888"/>
                  <a:pt x="11594251" y="655479"/>
                  <a:pt x="11591434" y="654071"/>
                </a:cubicBezTo>
                <a:cubicBezTo>
                  <a:pt x="11590027" y="652664"/>
                  <a:pt x="11588619" y="651256"/>
                  <a:pt x="11588619" y="649849"/>
                </a:cubicBezTo>
                <a:cubicBezTo>
                  <a:pt x="11587212" y="642811"/>
                  <a:pt x="11591434" y="641403"/>
                  <a:pt x="11591434" y="641403"/>
                </a:cubicBezTo>
                <a:cubicBezTo>
                  <a:pt x="11592843" y="639996"/>
                  <a:pt x="11597065" y="638588"/>
                  <a:pt x="11599880" y="639996"/>
                </a:cubicBezTo>
                <a:cubicBezTo>
                  <a:pt x="11604104" y="639996"/>
                  <a:pt x="11604104" y="637181"/>
                  <a:pt x="11601289" y="635772"/>
                </a:cubicBezTo>
                <a:cubicBezTo>
                  <a:pt x="11597065" y="632957"/>
                  <a:pt x="11590027" y="630142"/>
                  <a:pt x="11584397" y="630142"/>
                </a:cubicBezTo>
                <a:cubicBezTo>
                  <a:pt x="11575951" y="630142"/>
                  <a:pt x="11563283" y="631550"/>
                  <a:pt x="11563283" y="631550"/>
                </a:cubicBezTo>
                <a:cubicBezTo>
                  <a:pt x="11560468" y="631550"/>
                  <a:pt x="11557653" y="630142"/>
                  <a:pt x="11554837" y="628735"/>
                </a:cubicBezTo>
                <a:cubicBezTo>
                  <a:pt x="11553429" y="627326"/>
                  <a:pt x="11552022" y="625920"/>
                  <a:pt x="11552022" y="624511"/>
                </a:cubicBezTo>
                <a:cubicBezTo>
                  <a:pt x="11550613" y="617474"/>
                  <a:pt x="11554837" y="614658"/>
                  <a:pt x="11554837" y="614658"/>
                </a:cubicBezTo>
                <a:cubicBezTo>
                  <a:pt x="11556244" y="613250"/>
                  <a:pt x="11559059" y="611843"/>
                  <a:pt x="11563283" y="613250"/>
                </a:cubicBezTo>
                <a:cubicBezTo>
                  <a:pt x="11567505" y="613250"/>
                  <a:pt x="11567505" y="610435"/>
                  <a:pt x="11564690" y="609028"/>
                </a:cubicBezTo>
                <a:cubicBezTo>
                  <a:pt x="11560468" y="606213"/>
                  <a:pt x="11553429" y="603397"/>
                  <a:pt x="11547798" y="603397"/>
                </a:cubicBezTo>
                <a:cubicBezTo>
                  <a:pt x="11539352" y="603397"/>
                  <a:pt x="11526684" y="604804"/>
                  <a:pt x="11526684" y="604804"/>
                </a:cubicBezTo>
                <a:cubicBezTo>
                  <a:pt x="11525276" y="604804"/>
                  <a:pt x="11522462" y="604804"/>
                  <a:pt x="11522462" y="603397"/>
                </a:cubicBezTo>
                <a:cubicBezTo>
                  <a:pt x="11521054" y="601989"/>
                  <a:pt x="11521054" y="601989"/>
                  <a:pt x="11521054" y="600582"/>
                </a:cubicBezTo>
                <a:cubicBezTo>
                  <a:pt x="11521054" y="599173"/>
                  <a:pt x="11521054" y="596358"/>
                  <a:pt x="11522462" y="593545"/>
                </a:cubicBezTo>
                <a:cubicBezTo>
                  <a:pt x="11523869" y="587912"/>
                  <a:pt x="11525276" y="582282"/>
                  <a:pt x="11523869" y="573836"/>
                </a:cubicBezTo>
                <a:cubicBezTo>
                  <a:pt x="11522462" y="558353"/>
                  <a:pt x="11514016" y="552722"/>
                  <a:pt x="11511199" y="551315"/>
                </a:cubicBezTo>
                <a:cubicBezTo>
                  <a:pt x="11508386" y="549907"/>
                  <a:pt x="11506977" y="549907"/>
                  <a:pt x="11506977" y="549907"/>
                </a:cubicBezTo>
                <a:cubicBezTo>
                  <a:pt x="11506977" y="549907"/>
                  <a:pt x="11505570" y="552722"/>
                  <a:pt x="11505570" y="555537"/>
                </a:cubicBezTo>
                <a:cubicBezTo>
                  <a:pt x="11504162" y="566798"/>
                  <a:pt x="11502755" y="589321"/>
                  <a:pt x="11480233" y="589321"/>
                </a:cubicBezTo>
                <a:cubicBezTo>
                  <a:pt x="11477417" y="589321"/>
                  <a:pt x="11474602" y="589321"/>
                  <a:pt x="11471787" y="589321"/>
                </a:cubicBezTo>
                <a:cubicBezTo>
                  <a:pt x="11470378" y="589321"/>
                  <a:pt x="11467563" y="589321"/>
                  <a:pt x="11466156" y="589321"/>
                </a:cubicBezTo>
                <a:cubicBezTo>
                  <a:pt x="11464748" y="589321"/>
                  <a:pt x="11464748" y="589321"/>
                  <a:pt x="11463341" y="589321"/>
                </a:cubicBezTo>
                <a:cubicBezTo>
                  <a:pt x="11461933" y="589321"/>
                  <a:pt x="11459119" y="589321"/>
                  <a:pt x="11457710" y="589321"/>
                </a:cubicBezTo>
                <a:cubicBezTo>
                  <a:pt x="11454895" y="589321"/>
                  <a:pt x="11452080" y="589321"/>
                  <a:pt x="11449265" y="590728"/>
                </a:cubicBezTo>
                <a:cubicBezTo>
                  <a:pt x="11438003" y="593545"/>
                  <a:pt x="11430966" y="600582"/>
                  <a:pt x="11429557" y="610435"/>
                </a:cubicBezTo>
                <a:cubicBezTo>
                  <a:pt x="11429557" y="611843"/>
                  <a:pt x="11429557" y="611843"/>
                  <a:pt x="11429557" y="613250"/>
                </a:cubicBezTo>
                <a:cubicBezTo>
                  <a:pt x="11429557" y="614658"/>
                  <a:pt x="11429557" y="617474"/>
                  <a:pt x="11426742" y="617474"/>
                </a:cubicBezTo>
                <a:cubicBezTo>
                  <a:pt x="11426742" y="617474"/>
                  <a:pt x="11422520" y="618881"/>
                  <a:pt x="11415481" y="618881"/>
                </a:cubicBezTo>
                <a:cubicBezTo>
                  <a:pt x="11390145" y="621696"/>
                  <a:pt x="11380291" y="611843"/>
                  <a:pt x="11373253" y="607619"/>
                </a:cubicBezTo>
                <a:cubicBezTo>
                  <a:pt x="11371845" y="607619"/>
                  <a:pt x="11370438" y="606213"/>
                  <a:pt x="11370438" y="606213"/>
                </a:cubicBezTo>
                <a:cubicBezTo>
                  <a:pt x="11370438" y="606213"/>
                  <a:pt x="11370438" y="606213"/>
                  <a:pt x="11369030" y="607619"/>
                </a:cubicBezTo>
                <a:cubicBezTo>
                  <a:pt x="11364807" y="611843"/>
                  <a:pt x="11357768" y="624511"/>
                  <a:pt x="11357768" y="637181"/>
                </a:cubicBezTo>
                <a:cubicBezTo>
                  <a:pt x="11359177" y="658295"/>
                  <a:pt x="11373253" y="670963"/>
                  <a:pt x="11377475" y="673778"/>
                </a:cubicBezTo>
                <a:cubicBezTo>
                  <a:pt x="11381699" y="676593"/>
                  <a:pt x="11384513" y="678002"/>
                  <a:pt x="11384513" y="678002"/>
                </a:cubicBezTo>
                <a:cubicBezTo>
                  <a:pt x="11384513" y="678002"/>
                  <a:pt x="11384513" y="676593"/>
                  <a:pt x="11384513" y="675186"/>
                </a:cubicBezTo>
                <a:cubicBezTo>
                  <a:pt x="11384513" y="672371"/>
                  <a:pt x="11384513" y="669556"/>
                  <a:pt x="11387330" y="665332"/>
                </a:cubicBezTo>
                <a:cubicBezTo>
                  <a:pt x="11392959" y="655479"/>
                  <a:pt x="11401405" y="659701"/>
                  <a:pt x="11405628" y="661110"/>
                </a:cubicBezTo>
                <a:cubicBezTo>
                  <a:pt x="11407035" y="661110"/>
                  <a:pt x="11407035" y="661110"/>
                  <a:pt x="11407035" y="662517"/>
                </a:cubicBezTo>
                <a:cubicBezTo>
                  <a:pt x="11411259" y="663925"/>
                  <a:pt x="11415481" y="666741"/>
                  <a:pt x="11419705" y="666741"/>
                </a:cubicBezTo>
                <a:cubicBezTo>
                  <a:pt x="11423927" y="666741"/>
                  <a:pt x="11429557" y="663925"/>
                  <a:pt x="11432373" y="662517"/>
                </a:cubicBezTo>
                <a:cubicBezTo>
                  <a:pt x="11439412" y="659701"/>
                  <a:pt x="11446449" y="658295"/>
                  <a:pt x="11450673" y="662517"/>
                </a:cubicBezTo>
                <a:cubicBezTo>
                  <a:pt x="11454895" y="666741"/>
                  <a:pt x="11453488" y="676593"/>
                  <a:pt x="11453488" y="678002"/>
                </a:cubicBezTo>
                <a:lnTo>
                  <a:pt x="11453488" y="679408"/>
                </a:lnTo>
                <a:lnTo>
                  <a:pt x="11452080" y="679408"/>
                </a:lnTo>
                <a:cubicBezTo>
                  <a:pt x="11436597" y="673778"/>
                  <a:pt x="11430966" y="675186"/>
                  <a:pt x="11418296" y="676593"/>
                </a:cubicBezTo>
                <a:cubicBezTo>
                  <a:pt x="11411259" y="678002"/>
                  <a:pt x="11404220" y="682224"/>
                  <a:pt x="11398589" y="685039"/>
                </a:cubicBezTo>
                <a:cubicBezTo>
                  <a:pt x="11385921" y="692078"/>
                  <a:pt x="11380291" y="697709"/>
                  <a:pt x="11364807" y="692078"/>
                </a:cubicBezTo>
                <a:cubicBezTo>
                  <a:pt x="11350731" y="686448"/>
                  <a:pt x="11346507" y="678002"/>
                  <a:pt x="11343692" y="672371"/>
                </a:cubicBezTo>
                <a:cubicBezTo>
                  <a:pt x="11342285" y="670963"/>
                  <a:pt x="11342285" y="669556"/>
                  <a:pt x="11342285" y="669556"/>
                </a:cubicBezTo>
                <a:cubicBezTo>
                  <a:pt x="11342285" y="669556"/>
                  <a:pt x="11340877" y="670963"/>
                  <a:pt x="11340877" y="673778"/>
                </a:cubicBezTo>
                <a:cubicBezTo>
                  <a:pt x="11338061" y="680817"/>
                  <a:pt x="11338061" y="694893"/>
                  <a:pt x="11349322" y="707561"/>
                </a:cubicBezTo>
                <a:cubicBezTo>
                  <a:pt x="11364807" y="725860"/>
                  <a:pt x="11380291" y="718823"/>
                  <a:pt x="11390145" y="713192"/>
                </a:cubicBezTo>
                <a:lnTo>
                  <a:pt x="11391552" y="711785"/>
                </a:lnTo>
                <a:lnTo>
                  <a:pt x="11391552" y="713192"/>
                </a:lnTo>
                <a:cubicBezTo>
                  <a:pt x="11391552" y="716007"/>
                  <a:pt x="11392959" y="721638"/>
                  <a:pt x="11395774" y="727268"/>
                </a:cubicBezTo>
                <a:cubicBezTo>
                  <a:pt x="11398589" y="732899"/>
                  <a:pt x="11405628" y="739936"/>
                  <a:pt x="11414074" y="739936"/>
                </a:cubicBezTo>
                <a:cubicBezTo>
                  <a:pt x="11419705" y="739936"/>
                  <a:pt x="11428151" y="735714"/>
                  <a:pt x="11436597" y="730084"/>
                </a:cubicBezTo>
                <a:cubicBezTo>
                  <a:pt x="11452080" y="721638"/>
                  <a:pt x="11464748" y="710377"/>
                  <a:pt x="11484455" y="713192"/>
                </a:cubicBezTo>
                <a:cubicBezTo>
                  <a:pt x="11515423" y="718823"/>
                  <a:pt x="11540761" y="765274"/>
                  <a:pt x="11552022" y="786388"/>
                </a:cubicBezTo>
                <a:cubicBezTo>
                  <a:pt x="11554837" y="790612"/>
                  <a:pt x="11556244" y="794834"/>
                  <a:pt x="11557653" y="796242"/>
                </a:cubicBezTo>
                <a:cubicBezTo>
                  <a:pt x="11557653" y="796242"/>
                  <a:pt x="11557653" y="796242"/>
                  <a:pt x="11557653" y="797649"/>
                </a:cubicBezTo>
                <a:cubicBezTo>
                  <a:pt x="11559059" y="799058"/>
                  <a:pt x="11561875" y="803280"/>
                  <a:pt x="11563283" y="801873"/>
                </a:cubicBezTo>
                <a:cubicBezTo>
                  <a:pt x="11566098" y="800464"/>
                  <a:pt x="11566098" y="797649"/>
                  <a:pt x="11566098" y="797649"/>
                </a:cubicBezTo>
                <a:cubicBezTo>
                  <a:pt x="11568914" y="772313"/>
                  <a:pt x="11585805" y="762459"/>
                  <a:pt x="11595658" y="758237"/>
                </a:cubicBezTo>
                <a:cubicBezTo>
                  <a:pt x="11605511" y="754013"/>
                  <a:pt x="11615365" y="754013"/>
                  <a:pt x="11622403" y="754013"/>
                </a:cubicBezTo>
                <a:cubicBezTo>
                  <a:pt x="11623811" y="754013"/>
                  <a:pt x="11623811" y="754013"/>
                  <a:pt x="11625218" y="754013"/>
                </a:cubicBezTo>
                <a:cubicBezTo>
                  <a:pt x="11630848" y="754013"/>
                  <a:pt x="11639294" y="749791"/>
                  <a:pt x="11650555" y="744160"/>
                </a:cubicBezTo>
                <a:cubicBezTo>
                  <a:pt x="11667447" y="735714"/>
                  <a:pt x="11689970" y="724453"/>
                  <a:pt x="11718121" y="718823"/>
                </a:cubicBezTo>
                <a:cubicBezTo>
                  <a:pt x="11725160" y="717414"/>
                  <a:pt x="11727975" y="718823"/>
                  <a:pt x="11727975" y="721638"/>
                </a:cubicBezTo>
                <a:cubicBezTo>
                  <a:pt x="11727975" y="723045"/>
                  <a:pt x="11727975" y="727268"/>
                  <a:pt x="11725160" y="728675"/>
                </a:cubicBezTo>
                <a:lnTo>
                  <a:pt x="11720938" y="730084"/>
                </a:lnTo>
                <a:cubicBezTo>
                  <a:pt x="11692785" y="742752"/>
                  <a:pt x="11649149" y="758237"/>
                  <a:pt x="11639294" y="789205"/>
                </a:cubicBezTo>
                <a:cubicBezTo>
                  <a:pt x="11636479" y="794834"/>
                  <a:pt x="11636479" y="801873"/>
                  <a:pt x="11636479" y="810319"/>
                </a:cubicBezTo>
                <a:cubicBezTo>
                  <a:pt x="11636479" y="813134"/>
                  <a:pt x="11636479" y="815949"/>
                  <a:pt x="11636479" y="820171"/>
                </a:cubicBezTo>
                <a:cubicBezTo>
                  <a:pt x="11636479" y="855362"/>
                  <a:pt x="11619587" y="876477"/>
                  <a:pt x="11609735" y="886330"/>
                </a:cubicBezTo>
                <a:cubicBezTo>
                  <a:pt x="11599880" y="896184"/>
                  <a:pt x="11590027" y="904628"/>
                  <a:pt x="11582988" y="908852"/>
                </a:cubicBezTo>
                <a:cubicBezTo>
                  <a:pt x="11580175" y="911668"/>
                  <a:pt x="11577360" y="913074"/>
                  <a:pt x="11577360" y="914483"/>
                </a:cubicBezTo>
                <a:cubicBezTo>
                  <a:pt x="11577360" y="914483"/>
                  <a:pt x="11574543" y="917298"/>
                  <a:pt x="11571729" y="921520"/>
                </a:cubicBezTo>
                <a:cubicBezTo>
                  <a:pt x="11564690" y="929966"/>
                  <a:pt x="11554837" y="942636"/>
                  <a:pt x="11544983" y="951082"/>
                </a:cubicBezTo>
                <a:cubicBezTo>
                  <a:pt x="11535130" y="960934"/>
                  <a:pt x="11522462" y="969380"/>
                  <a:pt x="11518238" y="969380"/>
                </a:cubicBezTo>
                <a:cubicBezTo>
                  <a:pt x="11516832" y="969380"/>
                  <a:pt x="11516832" y="969380"/>
                  <a:pt x="11516832" y="969380"/>
                </a:cubicBezTo>
                <a:cubicBezTo>
                  <a:pt x="11516832" y="969380"/>
                  <a:pt x="11515423" y="967973"/>
                  <a:pt x="11515423" y="967973"/>
                </a:cubicBezTo>
                <a:cubicBezTo>
                  <a:pt x="11515423" y="965158"/>
                  <a:pt x="11521054" y="958119"/>
                  <a:pt x="11529500" y="946858"/>
                </a:cubicBezTo>
                <a:cubicBezTo>
                  <a:pt x="11539352" y="935597"/>
                  <a:pt x="11543576" y="928559"/>
                  <a:pt x="11543576" y="927151"/>
                </a:cubicBezTo>
                <a:cubicBezTo>
                  <a:pt x="11542167" y="927151"/>
                  <a:pt x="11536537" y="929966"/>
                  <a:pt x="11529500" y="932781"/>
                </a:cubicBezTo>
                <a:cubicBezTo>
                  <a:pt x="11525276" y="934190"/>
                  <a:pt x="11521054" y="937005"/>
                  <a:pt x="11515423" y="939821"/>
                </a:cubicBezTo>
                <a:cubicBezTo>
                  <a:pt x="11495716" y="949673"/>
                  <a:pt x="11453488" y="963750"/>
                  <a:pt x="11447856" y="958119"/>
                </a:cubicBezTo>
                <a:cubicBezTo>
                  <a:pt x="11446449" y="956712"/>
                  <a:pt x="11446449" y="956712"/>
                  <a:pt x="11447856" y="955304"/>
                </a:cubicBezTo>
                <a:cubicBezTo>
                  <a:pt x="11447856" y="952488"/>
                  <a:pt x="11454895" y="949673"/>
                  <a:pt x="11467563" y="942636"/>
                </a:cubicBezTo>
                <a:cubicBezTo>
                  <a:pt x="11488679" y="932781"/>
                  <a:pt x="11521054" y="915891"/>
                  <a:pt x="11528091" y="893369"/>
                </a:cubicBezTo>
                <a:cubicBezTo>
                  <a:pt x="11523869" y="893369"/>
                  <a:pt x="11509793" y="893369"/>
                  <a:pt x="11491494" y="866623"/>
                </a:cubicBezTo>
                <a:cubicBezTo>
                  <a:pt x="11468972" y="832841"/>
                  <a:pt x="11456302" y="801873"/>
                  <a:pt x="11430966" y="801873"/>
                </a:cubicBezTo>
                <a:cubicBezTo>
                  <a:pt x="11401405" y="801873"/>
                  <a:pt x="11339470" y="842694"/>
                  <a:pt x="11316947" y="856770"/>
                </a:cubicBezTo>
                <a:cubicBezTo>
                  <a:pt x="11298649" y="824395"/>
                  <a:pt x="11288795" y="789205"/>
                  <a:pt x="11288795" y="749791"/>
                </a:cubicBezTo>
                <a:cubicBezTo>
                  <a:pt x="11288795" y="628735"/>
                  <a:pt x="11387330" y="530201"/>
                  <a:pt x="11508386" y="530201"/>
                </a:cubicBezTo>
                <a:close/>
                <a:moveTo>
                  <a:pt x="11509793" y="511901"/>
                </a:moveTo>
                <a:cubicBezTo>
                  <a:pt x="11377475" y="511901"/>
                  <a:pt x="11270496" y="618881"/>
                  <a:pt x="11270496" y="751198"/>
                </a:cubicBezTo>
                <a:cubicBezTo>
                  <a:pt x="11270496" y="883515"/>
                  <a:pt x="11377475" y="990494"/>
                  <a:pt x="11509793" y="990494"/>
                </a:cubicBezTo>
                <a:cubicBezTo>
                  <a:pt x="11642110" y="990494"/>
                  <a:pt x="11749089" y="883515"/>
                  <a:pt x="11749089" y="751198"/>
                </a:cubicBezTo>
                <a:cubicBezTo>
                  <a:pt x="11749089" y="618881"/>
                  <a:pt x="11642110" y="511901"/>
                  <a:pt x="11509793" y="511901"/>
                </a:cubicBezTo>
                <a:close/>
                <a:moveTo>
                  <a:pt x="0" y="0"/>
                </a:moveTo>
                <a:lnTo>
                  <a:pt x="12193588" y="0"/>
                </a:lnTo>
                <a:lnTo>
                  <a:pt x="12193588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E740D4-1B25-4367-9B11-A14AE3B9F6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185" y="341295"/>
            <a:ext cx="7721963" cy="276999"/>
          </a:xfrm>
        </p:spPr>
        <p:txBody>
          <a:bodyPr vert="horz"/>
          <a:lstStyle>
            <a:lvl1pPr>
              <a:defRPr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A4D097B-3859-466A-8FBE-AACBD2CA2CE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32185" y="2868216"/>
            <a:ext cx="4105275" cy="1944292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182FF839-6D9C-4A06-832A-84AE618FB5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706541" y="2868216"/>
            <a:ext cx="4105275" cy="194429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E3A777A0-6AFF-4495-8DB6-8CD4050562D1}"/>
              </a:ext>
            </a:extLst>
          </p:cNvPr>
          <p:cNvSpPr>
            <a:spLocks noGrp="1"/>
          </p:cNvSpPr>
          <p:nvPr>
            <p:ph type="subTitle" idx="18"/>
          </p:nvPr>
        </p:nvSpPr>
        <p:spPr>
          <a:xfrm>
            <a:off x="332185" y="618295"/>
            <a:ext cx="7721963" cy="276999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800" b="0" i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225"/>
              </a:spcAft>
              <a:buNone/>
              <a:defRPr sz="1800" i="1">
                <a:solidFill>
                  <a:schemeClr val="accent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63161CF-1F6F-4D85-AF20-B0C4C702087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First name last name, date</a:t>
            </a:r>
          </a:p>
        </p:txBody>
      </p:sp>
      <p:sp>
        <p:nvSpPr>
          <p:cNvPr id="15" name="Status">
            <a:extLst>
              <a:ext uri="{FF2B5EF4-FFF2-40B4-BE49-F238E27FC236}">
                <a16:creationId xmlns:a16="http://schemas.microsoft.com/office/drawing/2014/main" id="{2007F285-FFD6-47D1-8241-3207696CB1E4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6728042" y="4885343"/>
            <a:ext cx="1724831" cy="11541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/>
            <a:r>
              <a:rPr lang="en-US" sz="750" b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ternal confidential  •  Copyright® 2021</a:t>
            </a:r>
            <a:endParaRPr lang="en-US" sz="75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621945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279">
          <p15:clr>
            <a:srgbClr val="9FCC3B"/>
          </p15:clr>
        </p15:guide>
        <p15:guide id="2" orient="horz" pos="2160">
          <p15:clr>
            <a:srgbClr val="9FCC3B"/>
          </p15:clr>
        </p15:guide>
        <p15:guide id="3" orient="horz" pos="2409">
          <p15:clr>
            <a:srgbClr val="9FCC3B"/>
          </p15:clr>
        </p15:guide>
        <p15:guide id="4" orient="horz" pos="4042">
          <p15:clr>
            <a:srgbClr val="9FCC3B"/>
          </p15:clr>
        </p15:guide>
        <p15:guide id="5" pos="3840">
          <p15:clr>
            <a:srgbClr val="9FCC3B"/>
          </p15:clr>
        </p15:guide>
        <p15:guide id="7" pos="7401">
          <p15:clr>
            <a:srgbClr val="9FCC3B"/>
          </p15:clr>
        </p15:guide>
        <p15:guide id="8" pos="3953">
          <p15:clr>
            <a:srgbClr val="9FCC3B"/>
          </p15:clr>
        </p15:guide>
        <p15:guide id="9" pos="3727">
          <p15:clr>
            <a:srgbClr val="9FCC3B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+Landscape Picture Top |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24F7F9E-DC64-4AAF-93B9-614AD3585F3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895653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6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24F7F9E-DC64-4AAF-93B9-614AD3585F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7CDAAF-2AF2-4783-8DE4-27BC54426A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8AD48C63-78A6-4D64-B839-4870EFEB9C1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B531F16-DC40-4E09-A6D1-7A9EA05E05F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5191" cy="2571750"/>
          </a:xfrm>
          <a:custGeom>
            <a:avLst/>
            <a:gdLst>
              <a:gd name="connsiteX0" fmla="*/ 11616772 w 12193588"/>
              <a:gd name="connsiteY0" fmla="*/ 766683 h 3429000"/>
              <a:gd name="connsiteX1" fmla="*/ 11606919 w 12193588"/>
              <a:gd name="connsiteY1" fmla="*/ 776535 h 3429000"/>
              <a:gd name="connsiteX2" fmla="*/ 11616772 w 12193588"/>
              <a:gd name="connsiteY2" fmla="*/ 786388 h 3429000"/>
              <a:gd name="connsiteX3" fmla="*/ 11626626 w 12193588"/>
              <a:gd name="connsiteY3" fmla="*/ 776535 h 3429000"/>
              <a:gd name="connsiteX4" fmla="*/ 11616772 w 12193588"/>
              <a:gd name="connsiteY4" fmla="*/ 766683 h 3429000"/>
              <a:gd name="connsiteX5" fmla="*/ 11435365 w 12193588"/>
              <a:gd name="connsiteY5" fmla="*/ 690142 h 3429000"/>
              <a:gd name="connsiteX6" fmla="*/ 11450673 w 12193588"/>
              <a:gd name="connsiteY6" fmla="*/ 692078 h 3429000"/>
              <a:gd name="connsiteX7" fmla="*/ 11452080 w 12193588"/>
              <a:gd name="connsiteY7" fmla="*/ 692078 h 3429000"/>
              <a:gd name="connsiteX8" fmla="*/ 11450673 w 12193588"/>
              <a:gd name="connsiteY8" fmla="*/ 693485 h 3429000"/>
              <a:gd name="connsiteX9" fmla="*/ 11430966 w 12193588"/>
              <a:gd name="connsiteY9" fmla="*/ 710377 h 3429000"/>
              <a:gd name="connsiteX10" fmla="*/ 11414074 w 12193588"/>
              <a:gd name="connsiteY10" fmla="*/ 714599 h 3429000"/>
              <a:gd name="connsiteX11" fmla="*/ 11399998 w 12193588"/>
              <a:gd name="connsiteY11" fmla="*/ 711785 h 3429000"/>
              <a:gd name="connsiteX12" fmla="*/ 11416890 w 12193588"/>
              <a:gd name="connsiteY12" fmla="*/ 697709 h 3429000"/>
              <a:gd name="connsiteX13" fmla="*/ 11435365 w 12193588"/>
              <a:gd name="connsiteY13" fmla="*/ 690142 h 3429000"/>
              <a:gd name="connsiteX14" fmla="*/ 11461933 w 12193588"/>
              <a:gd name="connsiteY14" fmla="*/ 609028 h 3429000"/>
              <a:gd name="connsiteX15" fmla="*/ 11474602 w 12193588"/>
              <a:gd name="connsiteY15" fmla="*/ 618881 h 3429000"/>
              <a:gd name="connsiteX16" fmla="*/ 11461933 w 12193588"/>
              <a:gd name="connsiteY16" fmla="*/ 628735 h 3429000"/>
              <a:gd name="connsiteX17" fmla="*/ 11449265 w 12193588"/>
              <a:gd name="connsiteY17" fmla="*/ 618881 h 3429000"/>
              <a:gd name="connsiteX18" fmla="*/ 11461933 w 12193588"/>
              <a:gd name="connsiteY18" fmla="*/ 609028 h 3429000"/>
              <a:gd name="connsiteX19" fmla="*/ 11508386 w 12193588"/>
              <a:gd name="connsiteY19" fmla="*/ 530201 h 3429000"/>
              <a:gd name="connsiteX20" fmla="*/ 11674485 w 12193588"/>
              <a:gd name="connsiteY20" fmla="*/ 606213 h 3429000"/>
              <a:gd name="connsiteX21" fmla="*/ 11678708 w 12193588"/>
              <a:gd name="connsiteY21" fmla="*/ 679408 h 3429000"/>
              <a:gd name="connsiteX22" fmla="*/ 11625218 w 12193588"/>
              <a:gd name="connsiteY22" fmla="*/ 676593 h 3429000"/>
              <a:gd name="connsiteX23" fmla="*/ 11629442 w 12193588"/>
              <a:gd name="connsiteY23" fmla="*/ 666741 h 3429000"/>
              <a:gd name="connsiteX24" fmla="*/ 11636479 w 12193588"/>
              <a:gd name="connsiteY24" fmla="*/ 665332 h 3429000"/>
              <a:gd name="connsiteX25" fmla="*/ 11637887 w 12193588"/>
              <a:gd name="connsiteY25" fmla="*/ 661110 h 3429000"/>
              <a:gd name="connsiteX26" fmla="*/ 11620996 w 12193588"/>
              <a:gd name="connsiteY26" fmla="*/ 655479 h 3429000"/>
              <a:gd name="connsiteX27" fmla="*/ 11599880 w 12193588"/>
              <a:gd name="connsiteY27" fmla="*/ 656888 h 3429000"/>
              <a:gd name="connsiteX28" fmla="*/ 11591434 w 12193588"/>
              <a:gd name="connsiteY28" fmla="*/ 654071 h 3429000"/>
              <a:gd name="connsiteX29" fmla="*/ 11588619 w 12193588"/>
              <a:gd name="connsiteY29" fmla="*/ 649849 h 3429000"/>
              <a:gd name="connsiteX30" fmla="*/ 11591434 w 12193588"/>
              <a:gd name="connsiteY30" fmla="*/ 641403 h 3429000"/>
              <a:gd name="connsiteX31" fmla="*/ 11599880 w 12193588"/>
              <a:gd name="connsiteY31" fmla="*/ 639996 h 3429000"/>
              <a:gd name="connsiteX32" fmla="*/ 11601289 w 12193588"/>
              <a:gd name="connsiteY32" fmla="*/ 635772 h 3429000"/>
              <a:gd name="connsiteX33" fmla="*/ 11584397 w 12193588"/>
              <a:gd name="connsiteY33" fmla="*/ 630142 h 3429000"/>
              <a:gd name="connsiteX34" fmla="*/ 11563283 w 12193588"/>
              <a:gd name="connsiteY34" fmla="*/ 631550 h 3429000"/>
              <a:gd name="connsiteX35" fmla="*/ 11554837 w 12193588"/>
              <a:gd name="connsiteY35" fmla="*/ 628735 h 3429000"/>
              <a:gd name="connsiteX36" fmla="*/ 11552022 w 12193588"/>
              <a:gd name="connsiteY36" fmla="*/ 624511 h 3429000"/>
              <a:gd name="connsiteX37" fmla="*/ 11554837 w 12193588"/>
              <a:gd name="connsiteY37" fmla="*/ 614658 h 3429000"/>
              <a:gd name="connsiteX38" fmla="*/ 11563283 w 12193588"/>
              <a:gd name="connsiteY38" fmla="*/ 613250 h 3429000"/>
              <a:gd name="connsiteX39" fmla="*/ 11564690 w 12193588"/>
              <a:gd name="connsiteY39" fmla="*/ 609028 h 3429000"/>
              <a:gd name="connsiteX40" fmla="*/ 11547798 w 12193588"/>
              <a:gd name="connsiteY40" fmla="*/ 603397 h 3429000"/>
              <a:gd name="connsiteX41" fmla="*/ 11526684 w 12193588"/>
              <a:gd name="connsiteY41" fmla="*/ 604804 h 3429000"/>
              <a:gd name="connsiteX42" fmla="*/ 11522462 w 12193588"/>
              <a:gd name="connsiteY42" fmla="*/ 603397 h 3429000"/>
              <a:gd name="connsiteX43" fmla="*/ 11521054 w 12193588"/>
              <a:gd name="connsiteY43" fmla="*/ 600582 h 3429000"/>
              <a:gd name="connsiteX44" fmla="*/ 11522462 w 12193588"/>
              <a:gd name="connsiteY44" fmla="*/ 593545 h 3429000"/>
              <a:gd name="connsiteX45" fmla="*/ 11523869 w 12193588"/>
              <a:gd name="connsiteY45" fmla="*/ 573836 h 3429000"/>
              <a:gd name="connsiteX46" fmla="*/ 11511199 w 12193588"/>
              <a:gd name="connsiteY46" fmla="*/ 551315 h 3429000"/>
              <a:gd name="connsiteX47" fmla="*/ 11506977 w 12193588"/>
              <a:gd name="connsiteY47" fmla="*/ 549907 h 3429000"/>
              <a:gd name="connsiteX48" fmla="*/ 11505570 w 12193588"/>
              <a:gd name="connsiteY48" fmla="*/ 555537 h 3429000"/>
              <a:gd name="connsiteX49" fmla="*/ 11480233 w 12193588"/>
              <a:gd name="connsiteY49" fmla="*/ 589321 h 3429000"/>
              <a:gd name="connsiteX50" fmla="*/ 11471787 w 12193588"/>
              <a:gd name="connsiteY50" fmla="*/ 589321 h 3429000"/>
              <a:gd name="connsiteX51" fmla="*/ 11466156 w 12193588"/>
              <a:gd name="connsiteY51" fmla="*/ 589321 h 3429000"/>
              <a:gd name="connsiteX52" fmla="*/ 11463341 w 12193588"/>
              <a:gd name="connsiteY52" fmla="*/ 589321 h 3429000"/>
              <a:gd name="connsiteX53" fmla="*/ 11457710 w 12193588"/>
              <a:gd name="connsiteY53" fmla="*/ 589321 h 3429000"/>
              <a:gd name="connsiteX54" fmla="*/ 11449265 w 12193588"/>
              <a:gd name="connsiteY54" fmla="*/ 590728 h 3429000"/>
              <a:gd name="connsiteX55" fmla="*/ 11429557 w 12193588"/>
              <a:gd name="connsiteY55" fmla="*/ 610435 h 3429000"/>
              <a:gd name="connsiteX56" fmla="*/ 11429557 w 12193588"/>
              <a:gd name="connsiteY56" fmla="*/ 613250 h 3429000"/>
              <a:gd name="connsiteX57" fmla="*/ 11426742 w 12193588"/>
              <a:gd name="connsiteY57" fmla="*/ 617474 h 3429000"/>
              <a:gd name="connsiteX58" fmla="*/ 11415481 w 12193588"/>
              <a:gd name="connsiteY58" fmla="*/ 618881 h 3429000"/>
              <a:gd name="connsiteX59" fmla="*/ 11373253 w 12193588"/>
              <a:gd name="connsiteY59" fmla="*/ 607619 h 3429000"/>
              <a:gd name="connsiteX60" fmla="*/ 11370438 w 12193588"/>
              <a:gd name="connsiteY60" fmla="*/ 606213 h 3429000"/>
              <a:gd name="connsiteX61" fmla="*/ 11369030 w 12193588"/>
              <a:gd name="connsiteY61" fmla="*/ 607619 h 3429000"/>
              <a:gd name="connsiteX62" fmla="*/ 11357768 w 12193588"/>
              <a:gd name="connsiteY62" fmla="*/ 637181 h 3429000"/>
              <a:gd name="connsiteX63" fmla="*/ 11377475 w 12193588"/>
              <a:gd name="connsiteY63" fmla="*/ 673778 h 3429000"/>
              <a:gd name="connsiteX64" fmla="*/ 11384513 w 12193588"/>
              <a:gd name="connsiteY64" fmla="*/ 678002 h 3429000"/>
              <a:gd name="connsiteX65" fmla="*/ 11384513 w 12193588"/>
              <a:gd name="connsiteY65" fmla="*/ 675186 h 3429000"/>
              <a:gd name="connsiteX66" fmla="*/ 11387330 w 12193588"/>
              <a:gd name="connsiteY66" fmla="*/ 665332 h 3429000"/>
              <a:gd name="connsiteX67" fmla="*/ 11405628 w 12193588"/>
              <a:gd name="connsiteY67" fmla="*/ 661110 h 3429000"/>
              <a:gd name="connsiteX68" fmla="*/ 11407035 w 12193588"/>
              <a:gd name="connsiteY68" fmla="*/ 662517 h 3429000"/>
              <a:gd name="connsiteX69" fmla="*/ 11419705 w 12193588"/>
              <a:gd name="connsiteY69" fmla="*/ 666741 h 3429000"/>
              <a:gd name="connsiteX70" fmla="*/ 11432373 w 12193588"/>
              <a:gd name="connsiteY70" fmla="*/ 662517 h 3429000"/>
              <a:gd name="connsiteX71" fmla="*/ 11450673 w 12193588"/>
              <a:gd name="connsiteY71" fmla="*/ 662517 h 3429000"/>
              <a:gd name="connsiteX72" fmla="*/ 11453488 w 12193588"/>
              <a:gd name="connsiteY72" fmla="*/ 678002 h 3429000"/>
              <a:gd name="connsiteX73" fmla="*/ 11453488 w 12193588"/>
              <a:gd name="connsiteY73" fmla="*/ 679408 h 3429000"/>
              <a:gd name="connsiteX74" fmla="*/ 11452080 w 12193588"/>
              <a:gd name="connsiteY74" fmla="*/ 679408 h 3429000"/>
              <a:gd name="connsiteX75" fmla="*/ 11418296 w 12193588"/>
              <a:gd name="connsiteY75" fmla="*/ 676593 h 3429000"/>
              <a:gd name="connsiteX76" fmla="*/ 11398589 w 12193588"/>
              <a:gd name="connsiteY76" fmla="*/ 685039 h 3429000"/>
              <a:gd name="connsiteX77" fmla="*/ 11364807 w 12193588"/>
              <a:gd name="connsiteY77" fmla="*/ 692078 h 3429000"/>
              <a:gd name="connsiteX78" fmla="*/ 11343692 w 12193588"/>
              <a:gd name="connsiteY78" fmla="*/ 672371 h 3429000"/>
              <a:gd name="connsiteX79" fmla="*/ 11342285 w 12193588"/>
              <a:gd name="connsiteY79" fmla="*/ 669556 h 3429000"/>
              <a:gd name="connsiteX80" fmla="*/ 11340877 w 12193588"/>
              <a:gd name="connsiteY80" fmla="*/ 673778 h 3429000"/>
              <a:gd name="connsiteX81" fmla="*/ 11349322 w 12193588"/>
              <a:gd name="connsiteY81" fmla="*/ 707561 h 3429000"/>
              <a:gd name="connsiteX82" fmla="*/ 11390145 w 12193588"/>
              <a:gd name="connsiteY82" fmla="*/ 713192 h 3429000"/>
              <a:gd name="connsiteX83" fmla="*/ 11391552 w 12193588"/>
              <a:gd name="connsiteY83" fmla="*/ 711785 h 3429000"/>
              <a:gd name="connsiteX84" fmla="*/ 11391552 w 12193588"/>
              <a:gd name="connsiteY84" fmla="*/ 713192 h 3429000"/>
              <a:gd name="connsiteX85" fmla="*/ 11395774 w 12193588"/>
              <a:gd name="connsiteY85" fmla="*/ 727268 h 3429000"/>
              <a:gd name="connsiteX86" fmla="*/ 11414074 w 12193588"/>
              <a:gd name="connsiteY86" fmla="*/ 739936 h 3429000"/>
              <a:gd name="connsiteX87" fmla="*/ 11436597 w 12193588"/>
              <a:gd name="connsiteY87" fmla="*/ 730084 h 3429000"/>
              <a:gd name="connsiteX88" fmla="*/ 11484455 w 12193588"/>
              <a:gd name="connsiteY88" fmla="*/ 713192 h 3429000"/>
              <a:gd name="connsiteX89" fmla="*/ 11552022 w 12193588"/>
              <a:gd name="connsiteY89" fmla="*/ 786388 h 3429000"/>
              <a:gd name="connsiteX90" fmla="*/ 11557653 w 12193588"/>
              <a:gd name="connsiteY90" fmla="*/ 796242 h 3429000"/>
              <a:gd name="connsiteX91" fmla="*/ 11557653 w 12193588"/>
              <a:gd name="connsiteY91" fmla="*/ 797649 h 3429000"/>
              <a:gd name="connsiteX92" fmla="*/ 11563283 w 12193588"/>
              <a:gd name="connsiteY92" fmla="*/ 801873 h 3429000"/>
              <a:gd name="connsiteX93" fmla="*/ 11566098 w 12193588"/>
              <a:gd name="connsiteY93" fmla="*/ 797649 h 3429000"/>
              <a:gd name="connsiteX94" fmla="*/ 11595658 w 12193588"/>
              <a:gd name="connsiteY94" fmla="*/ 758237 h 3429000"/>
              <a:gd name="connsiteX95" fmla="*/ 11622403 w 12193588"/>
              <a:gd name="connsiteY95" fmla="*/ 754013 h 3429000"/>
              <a:gd name="connsiteX96" fmla="*/ 11625218 w 12193588"/>
              <a:gd name="connsiteY96" fmla="*/ 754013 h 3429000"/>
              <a:gd name="connsiteX97" fmla="*/ 11650555 w 12193588"/>
              <a:gd name="connsiteY97" fmla="*/ 744160 h 3429000"/>
              <a:gd name="connsiteX98" fmla="*/ 11718121 w 12193588"/>
              <a:gd name="connsiteY98" fmla="*/ 718823 h 3429000"/>
              <a:gd name="connsiteX99" fmla="*/ 11727975 w 12193588"/>
              <a:gd name="connsiteY99" fmla="*/ 721638 h 3429000"/>
              <a:gd name="connsiteX100" fmla="*/ 11725160 w 12193588"/>
              <a:gd name="connsiteY100" fmla="*/ 728675 h 3429000"/>
              <a:gd name="connsiteX101" fmla="*/ 11720938 w 12193588"/>
              <a:gd name="connsiteY101" fmla="*/ 730084 h 3429000"/>
              <a:gd name="connsiteX102" fmla="*/ 11639294 w 12193588"/>
              <a:gd name="connsiteY102" fmla="*/ 789205 h 3429000"/>
              <a:gd name="connsiteX103" fmla="*/ 11636479 w 12193588"/>
              <a:gd name="connsiteY103" fmla="*/ 810319 h 3429000"/>
              <a:gd name="connsiteX104" fmla="*/ 11636479 w 12193588"/>
              <a:gd name="connsiteY104" fmla="*/ 820171 h 3429000"/>
              <a:gd name="connsiteX105" fmla="*/ 11609735 w 12193588"/>
              <a:gd name="connsiteY105" fmla="*/ 886330 h 3429000"/>
              <a:gd name="connsiteX106" fmla="*/ 11582988 w 12193588"/>
              <a:gd name="connsiteY106" fmla="*/ 908852 h 3429000"/>
              <a:gd name="connsiteX107" fmla="*/ 11577360 w 12193588"/>
              <a:gd name="connsiteY107" fmla="*/ 914483 h 3429000"/>
              <a:gd name="connsiteX108" fmla="*/ 11571729 w 12193588"/>
              <a:gd name="connsiteY108" fmla="*/ 921520 h 3429000"/>
              <a:gd name="connsiteX109" fmla="*/ 11544983 w 12193588"/>
              <a:gd name="connsiteY109" fmla="*/ 951082 h 3429000"/>
              <a:gd name="connsiteX110" fmla="*/ 11518238 w 12193588"/>
              <a:gd name="connsiteY110" fmla="*/ 969380 h 3429000"/>
              <a:gd name="connsiteX111" fmla="*/ 11516832 w 12193588"/>
              <a:gd name="connsiteY111" fmla="*/ 969380 h 3429000"/>
              <a:gd name="connsiteX112" fmla="*/ 11515423 w 12193588"/>
              <a:gd name="connsiteY112" fmla="*/ 967973 h 3429000"/>
              <a:gd name="connsiteX113" fmla="*/ 11529500 w 12193588"/>
              <a:gd name="connsiteY113" fmla="*/ 946858 h 3429000"/>
              <a:gd name="connsiteX114" fmla="*/ 11543576 w 12193588"/>
              <a:gd name="connsiteY114" fmla="*/ 927151 h 3429000"/>
              <a:gd name="connsiteX115" fmla="*/ 11529500 w 12193588"/>
              <a:gd name="connsiteY115" fmla="*/ 932781 h 3429000"/>
              <a:gd name="connsiteX116" fmla="*/ 11515423 w 12193588"/>
              <a:gd name="connsiteY116" fmla="*/ 939821 h 3429000"/>
              <a:gd name="connsiteX117" fmla="*/ 11447856 w 12193588"/>
              <a:gd name="connsiteY117" fmla="*/ 958119 h 3429000"/>
              <a:gd name="connsiteX118" fmla="*/ 11447856 w 12193588"/>
              <a:gd name="connsiteY118" fmla="*/ 955304 h 3429000"/>
              <a:gd name="connsiteX119" fmla="*/ 11467563 w 12193588"/>
              <a:gd name="connsiteY119" fmla="*/ 942636 h 3429000"/>
              <a:gd name="connsiteX120" fmla="*/ 11528091 w 12193588"/>
              <a:gd name="connsiteY120" fmla="*/ 893369 h 3429000"/>
              <a:gd name="connsiteX121" fmla="*/ 11491494 w 12193588"/>
              <a:gd name="connsiteY121" fmla="*/ 866623 h 3429000"/>
              <a:gd name="connsiteX122" fmla="*/ 11430966 w 12193588"/>
              <a:gd name="connsiteY122" fmla="*/ 801873 h 3429000"/>
              <a:gd name="connsiteX123" fmla="*/ 11316947 w 12193588"/>
              <a:gd name="connsiteY123" fmla="*/ 856770 h 3429000"/>
              <a:gd name="connsiteX124" fmla="*/ 11288795 w 12193588"/>
              <a:gd name="connsiteY124" fmla="*/ 749791 h 3429000"/>
              <a:gd name="connsiteX125" fmla="*/ 11508386 w 12193588"/>
              <a:gd name="connsiteY125" fmla="*/ 530201 h 3429000"/>
              <a:gd name="connsiteX126" fmla="*/ 11509793 w 12193588"/>
              <a:gd name="connsiteY126" fmla="*/ 511901 h 3429000"/>
              <a:gd name="connsiteX127" fmla="*/ 11270496 w 12193588"/>
              <a:gd name="connsiteY127" fmla="*/ 751198 h 3429000"/>
              <a:gd name="connsiteX128" fmla="*/ 11509793 w 12193588"/>
              <a:gd name="connsiteY128" fmla="*/ 990494 h 3429000"/>
              <a:gd name="connsiteX129" fmla="*/ 11749089 w 12193588"/>
              <a:gd name="connsiteY129" fmla="*/ 751198 h 3429000"/>
              <a:gd name="connsiteX130" fmla="*/ 11509793 w 12193588"/>
              <a:gd name="connsiteY130" fmla="*/ 511901 h 3429000"/>
              <a:gd name="connsiteX131" fmla="*/ 0 w 12193588"/>
              <a:gd name="connsiteY131" fmla="*/ 0 h 3429000"/>
              <a:gd name="connsiteX132" fmla="*/ 12193588 w 12193588"/>
              <a:gd name="connsiteY132" fmla="*/ 0 h 3429000"/>
              <a:gd name="connsiteX133" fmla="*/ 12193588 w 12193588"/>
              <a:gd name="connsiteY133" fmla="*/ 3429000 h 3429000"/>
              <a:gd name="connsiteX134" fmla="*/ 0 w 12193588"/>
              <a:gd name="connsiteY134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</a:cxnLst>
            <a:rect l="l" t="t" r="r" b="b"/>
            <a:pathLst>
              <a:path w="12193588" h="3429000">
                <a:moveTo>
                  <a:pt x="11616772" y="766683"/>
                </a:moveTo>
                <a:cubicBezTo>
                  <a:pt x="11611141" y="766683"/>
                  <a:pt x="11606919" y="770905"/>
                  <a:pt x="11606919" y="776535"/>
                </a:cubicBezTo>
                <a:cubicBezTo>
                  <a:pt x="11606919" y="782166"/>
                  <a:pt x="11611141" y="786388"/>
                  <a:pt x="11616772" y="786388"/>
                </a:cubicBezTo>
                <a:cubicBezTo>
                  <a:pt x="11622403" y="784981"/>
                  <a:pt x="11626626" y="780759"/>
                  <a:pt x="11626626" y="776535"/>
                </a:cubicBezTo>
                <a:cubicBezTo>
                  <a:pt x="11626626" y="770905"/>
                  <a:pt x="11622403" y="766683"/>
                  <a:pt x="11616772" y="766683"/>
                </a:cubicBezTo>
                <a:close/>
                <a:moveTo>
                  <a:pt x="11435365" y="690142"/>
                </a:moveTo>
                <a:cubicBezTo>
                  <a:pt x="11440819" y="689262"/>
                  <a:pt x="11445746" y="689966"/>
                  <a:pt x="11450673" y="692078"/>
                </a:cubicBezTo>
                <a:lnTo>
                  <a:pt x="11452080" y="692078"/>
                </a:lnTo>
                <a:cubicBezTo>
                  <a:pt x="11452080" y="692078"/>
                  <a:pt x="11452080" y="693485"/>
                  <a:pt x="11450673" y="693485"/>
                </a:cubicBezTo>
                <a:cubicBezTo>
                  <a:pt x="11447856" y="699116"/>
                  <a:pt x="11442227" y="706155"/>
                  <a:pt x="11430966" y="710377"/>
                </a:cubicBezTo>
                <a:cubicBezTo>
                  <a:pt x="11423927" y="713192"/>
                  <a:pt x="11419705" y="714599"/>
                  <a:pt x="11414074" y="714599"/>
                </a:cubicBezTo>
                <a:cubicBezTo>
                  <a:pt x="11407035" y="714599"/>
                  <a:pt x="11401405" y="713192"/>
                  <a:pt x="11399998" y="711785"/>
                </a:cubicBezTo>
                <a:cubicBezTo>
                  <a:pt x="11399998" y="711785"/>
                  <a:pt x="11407035" y="704746"/>
                  <a:pt x="11416890" y="697709"/>
                </a:cubicBezTo>
                <a:cubicBezTo>
                  <a:pt x="11423928" y="693486"/>
                  <a:pt x="11429910" y="691022"/>
                  <a:pt x="11435365" y="690142"/>
                </a:cubicBezTo>
                <a:close/>
                <a:moveTo>
                  <a:pt x="11461933" y="609028"/>
                </a:moveTo>
                <a:cubicBezTo>
                  <a:pt x="11468972" y="609028"/>
                  <a:pt x="11474602" y="613250"/>
                  <a:pt x="11474602" y="618881"/>
                </a:cubicBezTo>
                <a:cubicBezTo>
                  <a:pt x="11474602" y="624511"/>
                  <a:pt x="11468972" y="628735"/>
                  <a:pt x="11461933" y="628735"/>
                </a:cubicBezTo>
                <a:cubicBezTo>
                  <a:pt x="11454895" y="628735"/>
                  <a:pt x="11449265" y="624511"/>
                  <a:pt x="11449265" y="618881"/>
                </a:cubicBezTo>
                <a:cubicBezTo>
                  <a:pt x="11449265" y="613250"/>
                  <a:pt x="11454895" y="609028"/>
                  <a:pt x="11461933" y="609028"/>
                </a:cubicBezTo>
                <a:close/>
                <a:moveTo>
                  <a:pt x="11508386" y="530201"/>
                </a:moveTo>
                <a:cubicBezTo>
                  <a:pt x="11574543" y="530201"/>
                  <a:pt x="11633664" y="559761"/>
                  <a:pt x="11674485" y="606213"/>
                </a:cubicBezTo>
                <a:cubicBezTo>
                  <a:pt x="11699822" y="638588"/>
                  <a:pt x="11695600" y="665332"/>
                  <a:pt x="11678708" y="679408"/>
                </a:cubicBezTo>
                <a:cubicBezTo>
                  <a:pt x="11657595" y="694893"/>
                  <a:pt x="11629442" y="689263"/>
                  <a:pt x="11625218" y="676593"/>
                </a:cubicBezTo>
                <a:cubicBezTo>
                  <a:pt x="11623811" y="669556"/>
                  <a:pt x="11629442" y="666741"/>
                  <a:pt x="11629442" y="666741"/>
                </a:cubicBezTo>
                <a:cubicBezTo>
                  <a:pt x="11630848" y="665332"/>
                  <a:pt x="11633664" y="665332"/>
                  <a:pt x="11636479" y="665332"/>
                </a:cubicBezTo>
                <a:cubicBezTo>
                  <a:pt x="11640703" y="665332"/>
                  <a:pt x="11640703" y="662517"/>
                  <a:pt x="11637887" y="661110"/>
                </a:cubicBezTo>
                <a:cubicBezTo>
                  <a:pt x="11633664" y="658295"/>
                  <a:pt x="11626626" y="655479"/>
                  <a:pt x="11620996" y="655479"/>
                </a:cubicBezTo>
                <a:cubicBezTo>
                  <a:pt x="11612550" y="655479"/>
                  <a:pt x="11599880" y="656888"/>
                  <a:pt x="11599880" y="656888"/>
                </a:cubicBezTo>
                <a:cubicBezTo>
                  <a:pt x="11597065" y="656888"/>
                  <a:pt x="11594251" y="655479"/>
                  <a:pt x="11591434" y="654071"/>
                </a:cubicBezTo>
                <a:cubicBezTo>
                  <a:pt x="11590027" y="652664"/>
                  <a:pt x="11588619" y="651256"/>
                  <a:pt x="11588619" y="649849"/>
                </a:cubicBezTo>
                <a:cubicBezTo>
                  <a:pt x="11587212" y="642811"/>
                  <a:pt x="11591434" y="641403"/>
                  <a:pt x="11591434" y="641403"/>
                </a:cubicBezTo>
                <a:cubicBezTo>
                  <a:pt x="11592843" y="639996"/>
                  <a:pt x="11597065" y="638588"/>
                  <a:pt x="11599880" y="639996"/>
                </a:cubicBezTo>
                <a:cubicBezTo>
                  <a:pt x="11604104" y="639996"/>
                  <a:pt x="11604104" y="637181"/>
                  <a:pt x="11601289" y="635772"/>
                </a:cubicBezTo>
                <a:cubicBezTo>
                  <a:pt x="11597065" y="632957"/>
                  <a:pt x="11590027" y="630142"/>
                  <a:pt x="11584397" y="630142"/>
                </a:cubicBezTo>
                <a:cubicBezTo>
                  <a:pt x="11575951" y="630142"/>
                  <a:pt x="11563283" y="631550"/>
                  <a:pt x="11563283" y="631550"/>
                </a:cubicBezTo>
                <a:cubicBezTo>
                  <a:pt x="11560468" y="631550"/>
                  <a:pt x="11557653" y="630142"/>
                  <a:pt x="11554837" y="628735"/>
                </a:cubicBezTo>
                <a:cubicBezTo>
                  <a:pt x="11553429" y="627326"/>
                  <a:pt x="11552022" y="625920"/>
                  <a:pt x="11552022" y="624511"/>
                </a:cubicBezTo>
                <a:cubicBezTo>
                  <a:pt x="11550613" y="617474"/>
                  <a:pt x="11554837" y="614658"/>
                  <a:pt x="11554837" y="614658"/>
                </a:cubicBezTo>
                <a:cubicBezTo>
                  <a:pt x="11556244" y="613250"/>
                  <a:pt x="11559059" y="611843"/>
                  <a:pt x="11563283" y="613250"/>
                </a:cubicBezTo>
                <a:cubicBezTo>
                  <a:pt x="11567505" y="613250"/>
                  <a:pt x="11567505" y="610435"/>
                  <a:pt x="11564690" y="609028"/>
                </a:cubicBezTo>
                <a:cubicBezTo>
                  <a:pt x="11560468" y="606213"/>
                  <a:pt x="11553429" y="603397"/>
                  <a:pt x="11547798" y="603397"/>
                </a:cubicBezTo>
                <a:cubicBezTo>
                  <a:pt x="11539352" y="603397"/>
                  <a:pt x="11526684" y="604804"/>
                  <a:pt x="11526684" y="604804"/>
                </a:cubicBezTo>
                <a:cubicBezTo>
                  <a:pt x="11525276" y="604804"/>
                  <a:pt x="11522462" y="604804"/>
                  <a:pt x="11522462" y="603397"/>
                </a:cubicBezTo>
                <a:cubicBezTo>
                  <a:pt x="11521054" y="601989"/>
                  <a:pt x="11521054" y="601989"/>
                  <a:pt x="11521054" y="600582"/>
                </a:cubicBezTo>
                <a:cubicBezTo>
                  <a:pt x="11521054" y="599173"/>
                  <a:pt x="11521054" y="596358"/>
                  <a:pt x="11522462" y="593545"/>
                </a:cubicBezTo>
                <a:cubicBezTo>
                  <a:pt x="11523869" y="587912"/>
                  <a:pt x="11525276" y="582282"/>
                  <a:pt x="11523869" y="573836"/>
                </a:cubicBezTo>
                <a:cubicBezTo>
                  <a:pt x="11522462" y="558353"/>
                  <a:pt x="11514016" y="552722"/>
                  <a:pt x="11511199" y="551315"/>
                </a:cubicBezTo>
                <a:cubicBezTo>
                  <a:pt x="11508386" y="549907"/>
                  <a:pt x="11506977" y="549907"/>
                  <a:pt x="11506977" y="549907"/>
                </a:cubicBezTo>
                <a:cubicBezTo>
                  <a:pt x="11506977" y="549907"/>
                  <a:pt x="11505570" y="552722"/>
                  <a:pt x="11505570" y="555537"/>
                </a:cubicBezTo>
                <a:cubicBezTo>
                  <a:pt x="11504162" y="566798"/>
                  <a:pt x="11502755" y="589321"/>
                  <a:pt x="11480233" y="589321"/>
                </a:cubicBezTo>
                <a:cubicBezTo>
                  <a:pt x="11477417" y="589321"/>
                  <a:pt x="11474602" y="589321"/>
                  <a:pt x="11471787" y="589321"/>
                </a:cubicBezTo>
                <a:cubicBezTo>
                  <a:pt x="11470378" y="589321"/>
                  <a:pt x="11467563" y="589321"/>
                  <a:pt x="11466156" y="589321"/>
                </a:cubicBezTo>
                <a:cubicBezTo>
                  <a:pt x="11464748" y="589321"/>
                  <a:pt x="11464748" y="589321"/>
                  <a:pt x="11463341" y="589321"/>
                </a:cubicBezTo>
                <a:cubicBezTo>
                  <a:pt x="11461933" y="589321"/>
                  <a:pt x="11459119" y="589321"/>
                  <a:pt x="11457710" y="589321"/>
                </a:cubicBezTo>
                <a:cubicBezTo>
                  <a:pt x="11454895" y="589321"/>
                  <a:pt x="11452080" y="589321"/>
                  <a:pt x="11449265" y="590728"/>
                </a:cubicBezTo>
                <a:cubicBezTo>
                  <a:pt x="11438003" y="593545"/>
                  <a:pt x="11430966" y="600582"/>
                  <a:pt x="11429557" y="610435"/>
                </a:cubicBezTo>
                <a:cubicBezTo>
                  <a:pt x="11429557" y="611843"/>
                  <a:pt x="11429557" y="611843"/>
                  <a:pt x="11429557" y="613250"/>
                </a:cubicBezTo>
                <a:cubicBezTo>
                  <a:pt x="11429557" y="614658"/>
                  <a:pt x="11429557" y="617474"/>
                  <a:pt x="11426742" y="617474"/>
                </a:cubicBezTo>
                <a:cubicBezTo>
                  <a:pt x="11426742" y="617474"/>
                  <a:pt x="11422520" y="618881"/>
                  <a:pt x="11415481" y="618881"/>
                </a:cubicBezTo>
                <a:cubicBezTo>
                  <a:pt x="11390145" y="621696"/>
                  <a:pt x="11380291" y="611843"/>
                  <a:pt x="11373253" y="607619"/>
                </a:cubicBezTo>
                <a:cubicBezTo>
                  <a:pt x="11371845" y="607619"/>
                  <a:pt x="11370438" y="606213"/>
                  <a:pt x="11370438" y="606213"/>
                </a:cubicBezTo>
                <a:cubicBezTo>
                  <a:pt x="11370438" y="606213"/>
                  <a:pt x="11370438" y="606213"/>
                  <a:pt x="11369030" y="607619"/>
                </a:cubicBezTo>
                <a:cubicBezTo>
                  <a:pt x="11364807" y="611843"/>
                  <a:pt x="11357768" y="624511"/>
                  <a:pt x="11357768" y="637181"/>
                </a:cubicBezTo>
                <a:cubicBezTo>
                  <a:pt x="11359177" y="658295"/>
                  <a:pt x="11373253" y="670963"/>
                  <a:pt x="11377475" y="673778"/>
                </a:cubicBezTo>
                <a:cubicBezTo>
                  <a:pt x="11381699" y="676593"/>
                  <a:pt x="11384513" y="678002"/>
                  <a:pt x="11384513" y="678002"/>
                </a:cubicBezTo>
                <a:cubicBezTo>
                  <a:pt x="11384513" y="678002"/>
                  <a:pt x="11384513" y="676593"/>
                  <a:pt x="11384513" y="675186"/>
                </a:cubicBezTo>
                <a:cubicBezTo>
                  <a:pt x="11384513" y="672371"/>
                  <a:pt x="11384513" y="669556"/>
                  <a:pt x="11387330" y="665332"/>
                </a:cubicBezTo>
                <a:cubicBezTo>
                  <a:pt x="11392959" y="655479"/>
                  <a:pt x="11401405" y="659701"/>
                  <a:pt x="11405628" y="661110"/>
                </a:cubicBezTo>
                <a:cubicBezTo>
                  <a:pt x="11407035" y="661110"/>
                  <a:pt x="11407035" y="661110"/>
                  <a:pt x="11407035" y="662517"/>
                </a:cubicBezTo>
                <a:cubicBezTo>
                  <a:pt x="11411259" y="663925"/>
                  <a:pt x="11415481" y="666741"/>
                  <a:pt x="11419705" y="666741"/>
                </a:cubicBezTo>
                <a:cubicBezTo>
                  <a:pt x="11423927" y="666741"/>
                  <a:pt x="11429557" y="663925"/>
                  <a:pt x="11432373" y="662517"/>
                </a:cubicBezTo>
                <a:cubicBezTo>
                  <a:pt x="11439412" y="659701"/>
                  <a:pt x="11446449" y="658295"/>
                  <a:pt x="11450673" y="662517"/>
                </a:cubicBezTo>
                <a:cubicBezTo>
                  <a:pt x="11454895" y="666741"/>
                  <a:pt x="11453488" y="676593"/>
                  <a:pt x="11453488" y="678002"/>
                </a:cubicBezTo>
                <a:lnTo>
                  <a:pt x="11453488" y="679408"/>
                </a:lnTo>
                <a:lnTo>
                  <a:pt x="11452080" y="679408"/>
                </a:lnTo>
                <a:cubicBezTo>
                  <a:pt x="11436597" y="673778"/>
                  <a:pt x="11430966" y="675186"/>
                  <a:pt x="11418296" y="676593"/>
                </a:cubicBezTo>
                <a:cubicBezTo>
                  <a:pt x="11411259" y="678002"/>
                  <a:pt x="11404220" y="682224"/>
                  <a:pt x="11398589" y="685039"/>
                </a:cubicBezTo>
                <a:cubicBezTo>
                  <a:pt x="11385921" y="692078"/>
                  <a:pt x="11380291" y="697709"/>
                  <a:pt x="11364807" y="692078"/>
                </a:cubicBezTo>
                <a:cubicBezTo>
                  <a:pt x="11350731" y="686448"/>
                  <a:pt x="11346507" y="678002"/>
                  <a:pt x="11343692" y="672371"/>
                </a:cubicBezTo>
                <a:cubicBezTo>
                  <a:pt x="11342285" y="670963"/>
                  <a:pt x="11342285" y="669556"/>
                  <a:pt x="11342285" y="669556"/>
                </a:cubicBezTo>
                <a:cubicBezTo>
                  <a:pt x="11342285" y="669556"/>
                  <a:pt x="11340877" y="670963"/>
                  <a:pt x="11340877" y="673778"/>
                </a:cubicBezTo>
                <a:cubicBezTo>
                  <a:pt x="11338061" y="680817"/>
                  <a:pt x="11338061" y="694893"/>
                  <a:pt x="11349322" y="707561"/>
                </a:cubicBezTo>
                <a:cubicBezTo>
                  <a:pt x="11364807" y="725860"/>
                  <a:pt x="11380291" y="718823"/>
                  <a:pt x="11390145" y="713192"/>
                </a:cubicBezTo>
                <a:lnTo>
                  <a:pt x="11391552" y="711785"/>
                </a:lnTo>
                <a:lnTo>
                  <a:pt x="11391552" y="713192"/>
                </a:lnTo>
                <a:cubicBezTo>
                  <a:pt x="11391552" y="716007"/>
                  <a:pt x="11392959" y="721638"/>
                  <a:pt x="11395774" y="727268"/>
                </a:cubicBezTo>
                <a:cubicBezTo>
                  <a:pt x="11398589" y="732899"/>
                  <a:pt x="11405628" y="739936"/>
                  <a:pt x="11414074" y="739936"/>
                </a:cubicBezTo>
                <a:cubicBezTo>
                  <a:pt x="11419705" y="739936"/>
                  <a:pt x="11428151" y="735714"/>
                  <a:pt x="11436597" y="730084"/>
                </a:cubicBezTo>
                <a:cubicBezTo>
                  <a:pt x="11452080" y="721638"/>
                  <a:pt x="11464748" y="710377"/>
                  <a:pt x="11484455" y="713192"/>
                </a:cubicBezTo>
                <a:cubicBezTo>
                  <a:pt x="11515423" y="718823"/>
                  <a:pt x="11540761" y="765274"/>
                  <a:pt x="11552022" y="786388"/>
                </a:cubicBezTo>
                <a:cubicBezTo>
                  <a:pt x="11554837" y="790612"/>
                  <a:pt x="11556244" y="794834"/>
                  <a:pt x="11557653" y="796242"/>
                </a:cubicBezTo>
                <a:cubicBezTo>
                  <a:pt x="11557653" y="796242"/>
                  <a:pt x="11557653" y="796242"/>
                  <a:pt x="11557653" y="797649"/>
                </a:cubicBezTo>
                <a:cubicBezTo>
                  <a:pt x="11559059" y="799058"/>
                  <a:pt x="11561875" y="803280"/>
                  <a:pt x="11563283" y="801873"/>
                </a:cubicBezTo>
                <a:cubicBezTo>
                  <a:pt x="11566098" y="800464"/>
                  <a:pt x="11566098" y="797649"/>
                  <a:pt x="11566098" y="797649"/>
                </a:cubicBezTo>
                <a:cubicBezTo>
                  <a:pt x="11568914" y="772313"/>
                  <a:pt x="11585805" y="762459"/>
                  <a:pt x="11595658" y="758237"/>
                </a:cubicBezTo>
                <a:cubicBezTo>
                  <a:pt x="11605511" y="754013"/>
                  <a:pt x="11615365" y="754013"/>
                  <a:pt x="11622403" y="754013"/>
                </a:cubicBezTo>
                <a:cubicBezTo>
                  <a:pt x="11623811" y="754013"/>
                  <a:pt x="11623811" y="754013"/>
                  <a:pt x="11625218" y="754013"/>
                </a:cubicBezTo>
                <a:cubicBezTo>
                  <a:pt x="11630848" y="754013"/>
                  <a:pt x="11639294" y="749791"/>
                  <a:pt x="11650555" y="744160"/>
                </a:cubicBezTo>
                <a:cubicBezTo>
                  <a:pt x="11667447" y="735714"/>
                  <a:pt x="11689970" y="724453"/>
                  <a:pt x="11718121" y="718823"/>
                </a:cubicBezTo>
                <a:cubicBezTo>
                  <a:pt x="11725160" y="717414"/>
                  <a:pt x="11727975" y="718823"/>
                  <a:pt x="11727975" y="721638"/>
                </a:cubicBezTo>
                <a:cubicBezTo>
                  <a:pt x="11727975" y="723045"/>
                  <a:pt x="11727975" y="727268"/>
                  <a:pt x="11725160" y="728675"/>
                </a:cubicBezTo>
                <a:lnTo>
                  <a:pt x="11720938" y="730084"/>
                </a:lnTo>
                <a:cubicBezTo>
                  <a:pt x="11692785" y="742752"/>
                  <a:pt x="11649149" y="758237"/>
                  <a:pt x="11639294" y="789205"/>
                </a:cubicBezTo>
                <a:cubicBezTo>
                  <a:pt x="11636479" y="794834"/>
                  <a:pt x="11636479" y="801873"/>
                  <a:pt x="11636479" y="810319"/>
                </a:cubicBezTo>
                <a:cubicBezTo>
                  <a:pt x="11636479" y="813134"/>
                  <a:pt x="11636479" y="815949"/>
                  <a:pt x="11636479" y="820171"/>
                </a:cubicBezTo>
                <a:cubicBezTo>
                  <a:pt x="11636479" y="855362"/>
                  <a:pt x="11619587" y="876477"/>
                  <a:pt x="11609735" y="886330"/>
                </a:cubicBezTo>
                <a:cubicBezTo>
                  <a:pt x="11599880" y="896184"/>
                  <a:pt x="11590027" y="904628"/>
                  <a:pt x="11582988" y="908852"/>
                </a:cubicBezTo>
                <a:cubicBezTo>
                  <a:pt x="11580175" y="911668"/>
                  <a:pt x="11577360" y="913074"/>
                  <a:pt x="11577360" y="914483"/>
                </a:cubicBezTo>
                <a:cubicBezTo>
                  <a:pt x="11577360" y="914483"/>
                  <a:pt x="11574543" y="917298"/>
                  <a:pt x="11571729" y="921520"/>
                </a:cubicBezTo>
                <a:cubicBezTo>
                  <a:pt x="11564690" y="929966"/>
                  <a:pt x="11554837" y="942636"/>
                  <a:pt x="11544983" y="951082"/>
                </a:cubicBezTo>
                <a:cubicBezTo>
                  <a:pt x="11535130" y="960934"/>
                  <a:pt x="11522462" y="969380"/>
                  <a:pt x="11518238" y="969380"/>
                </a:cubicBezTo>
                <a:cubicBezTo>
                  <a:pt x="11516832" y="969380"/>
                  <a:pt x="11516832" y="969380"/>
                  <a:pt x="11516832" y="969380"/>
                </a:cubicBezTo>
                <a:cubicBezTo>
                  <a:pt x="11516832" y="969380"/>
                  <a:pt x="11515423" y="967973"/>
                  <a:pt x="11515423" y="967973"/>
                </a:cubicBezTo>
                <a:cubicBezTo>
                  <a:pt x="11515423" y="965158"/>
                  <a:pt x="11521054" y="958119"/>
                  <a:pt x="11529500" y="946858"/>
                </a:cubicBezTo>
                <a:cubicBezTo>
                  <a:pt x="11539352" y="935597"/>
                  <a:pt x="11543576" y="928559"/>
                  <a:pt x="11543576" y="927151"/>
                </a:cubicBezTo>
                <a:cubicBezTo>
                  <a:pt x="11542167" y="927151"/>
                  <a:pt x="11536537" y="929966"/>
                  <a:pt x="11529500" y="932781"/>
                </a:cubicBezTo>
                <a:cubicBezTo>
                  <a:pt x="11525276" y="934190"/>
                  <a:pt x="11521054" y="937005"/>
                  <a:pt x="11515423" y="939821"/>
                </a:cubicBezTo>
                <a:cubicBezTo>
                  <a:pt x="11495716" y="949673"/>
                  <a:pt x="11453488" y="963750"/>
                  <a:pt x="11447856" y="958119"/>
                </a:cubicBezTo>
                <a:cubicBezTo>
                  <a:pt x="11446449" y="956712"/>
                  <a:pt x="11446449" y="956712"/>
                  <a:pt x="11447856" y="955304"/>
                </a:cubicBezTo>
                <a:cubicBezTo>
                  <a:pt x="11447856" y="952488"/>
                  <a:pt x="11454895" y="949673"/>
                  <a:pt x="11467563" y="942636"/>
                </a:cubicBezTo>
                <a:cubicBezTo>
                  <a:pt x="11488679" y="932781"/>
                  <a:pt x="11521054" y="915891"/>
                  <a:pt x="11528091" y="893369"/>
                </a:cubicBezTo>
                <a:cubicBezTo>
                  <a:pt x="11523869" y="893369"/>
                  <a:pt x="11509793" y="893369"/>
                  <a:pt x="11491494" y="866623"/>
                </a:cubicBezTo>
                <a:cubicBezTo>
                  <a:pt x="11468972" y="832841"/>
                  <a:pt x="11456302" y="801873"/>
                  <a:pt x="11430966" y="801873"/>
                </a:cubicBezTo>
                <a:cubicBezTo>
                  <a:pt x="11401405" y="801873"/>
                  <a:pt x="11339470" y="842694"/>
                  <a:pt x="11316947" y="856770"/>
                </a:cubicBezTo>
                <a:cubicBezTo>
                  <a:pt x="11298649" y="824395"/>
                  <a:pt x="11288795" y="789205"/>
                  <a:pt x="11288795" y="749791"/>
                </a:cubicBezTo>
                <a:cubicBezTo>
                  <a:pt x="11288795" y="628735"/>
                  <a:pt x="11387330" y="530201"/>
                  <a:pt x="11508386" y="530201"/>
                </a:cubicBezTo>
                <a:close/>
                <a:moveTo>
                  <a:pt x="11509793" y="511901"/>
                </a:moveTo>
                <a:cubicBezTo>
                  <a:pt x="11377475" y="511901"/>
                  <a:pt x="11270496" y="618881"/>
                  <a:pt x="11270496" y="751198"/>
                </a:cubicBezTo>
                <a:cubicBezTo>
                  <a:pt x="11270496" y="883515"/>
                  <a:pt x="11377475" y="990494"/>
                  <a:pt x="11509793" y="990494"/>
                </a:cubicBezTo>
                <a:cubicBezTo>
                  <a:pt x="11642110" y="990494"/>
                  <a:pt x="11749089" y="883515"/>
                  <a:pt x="11749089" y="751198"/>
                </a:cubicBezTo>
                <a:cubicBezTo>
                  <a:pt x="11749089" y="618881"/>
                  <a:pt x="11642110" y="511901"/>
                  <a:pt x="11509793" y="511901"/>
                </a:cubicBezTo>
                <a:close/>
                <a:moveTo>
                  <a:pt x="0" y="0"/>
                </a:moveTo>
                <a:lnTo>
                  <a:pt x="12193588" y="0"/>
                </a:lnTo>
                <a:lnTo>
                  <a:pt x="12193588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E740D4-1B25-4367-9B11-A14AE3B9F6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332185" y="341295"/>
            <a:ext cx="7721963" cy="276999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6DEA078-9F6C-4137-912C-04EB1413BE5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32185" y="2868217"/>
            <a:ext cx="4105275" cy="1944290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7F61C804-234E-4BD4-A0CB-4EEB3487A9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706541" y="2868217"/>
            <a:ext cx="4105275" cy="1944290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69A941D2-78A6-44BE-8E25-E5256E193490}"/>
              </a:ext>
            </a:extLst>
          </p:cNvPr>
          <p:cNvSpPr>
            <a:spLocks noGrp="1"/>
          </p:cNvSpPr>
          <p:nvPr>
            <p:ph type="subTitle" idx="18"/>
          </p:nvPr>
        </p:nvSpPr>
        <p:spPr bwMode="white">
          <a:xfrm>
            <a:off x="332185" y="618295"/>
            <a:ext cx="7721963" cy="276999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800" b="0" i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225"/>
              </a:spcAft>
              <a:buNone/>
              <a:defRPr sz="1800" i="1">
                <a:solidFill>
                  <a:schemeClr val="accent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D5BFBA-10E9-4C5C-B153-56374ECDF76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First name last name, date</a:t>
            </a:r>
          </a:p>
        </p:txBody>
      </p:sp>
      <p:sp>
        <p:nvSpPr>
          <p:cNvPr id="15" name="Status">
            <a:extLst>
              <a:ext uri="{FF2B5EF4-FFF2-40B4-BE49-F238E27FC236}">
                <a16:creationId xmlns:a16="http://schemas.microsoft.com/office/drawing/2014/main" id="{9F325A38-492A-41E3-8016-DDCD9C6326DA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6728042" y="4885343"/>
            <a:ext cx="1724831" cy="11541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/>
            <a:r>
              <a:rPr lang="en-US" sz="750" b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ternal confidential  •  Copyright® 2021</a:t>
            </a:r>
            <a:endParaRPr lang="en-US" sz="75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485454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4" pos="7401">
          <p15:clr>
            <a:srgbClr val="9FCC3B"/>
          </p15:clr>
        </p15:guide>
        <p15:guide id="6" orient="horz" pos="2409">
          <p15:clr>
            <a:srgbClr val="9FCC3B"/>
          </p15:clr>
        </p15:guide>
        <p15:guide id="7" orient="horz" pos="2160">
          <p15:clr>
            <a:srgbClr val="9FCC3B"/>
          </p15:clr>
        </p15:guide>
        <p15:guide id="8" orient="horz" pos="4042">
          <p15:clr>
            <a:srgbClr val="9FCC3B"/>
          </p15:clr>
        </p15:guide>
        <p15:guide id="9" pos="3840">
          <p15:clr>
            <a:srgbClr val="9FCC3B"/>
          </p15:clr>
        </p15:guide>
        <p15:guide id="10" pos="279">
          <p15:clr>
            <a:srgbClr val="9FCC3B"/>
          </p15:clr>
        </p15:guide>
        <p15:guide id="11" pos="3727">
          <p15:clr>
            <a:srgbClr val="9FCC3B"/>
          </p15:clr>
        </p15:guide>
        <p15:guide id="12" pos="3953">
          <p15:clr>
            <a:srgbClr val="9FCC3B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+Landscape Pictur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9D889BC-83D2-4FA0-9D9D-00FD99750D5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57959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0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9D889BC-83D2-4FA0-9D9D-00FD99750D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E6125C6-79DE-4B7F-A80F-BEDA449C7C1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2571750"/>
            <a:ext cx="9145192" cy="2571750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7CDAAF-2AF2-4783-8DE4-27BC54426A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noFill/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8AD48C63-78A6-4D64-B839-4870EFEB9C1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E740D4-1B25-4367-9B11-A14AE3B9F6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185" y="341295"/>
            <a:ext cx="7721963" cy="276999"/>
          </a:xfrm>
        </p:spPr>
        <p:txBody>
          <a:bodyPr vert="horz"/>
          <a:lstStyle>
            <a:lvl1pPr>
              <a:defRPr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platzhalter 16">
            <a:extLst>
              <a:ext uri="{FF2B5EF4-FFF2-40B4-BE49-F238E27FC236}">
                <a16:creationId xmlns:a16="http://schemas.microsoft.com/office/drawing/2014/main" id="{A482CC19-2534-4047-AC10-CBC217115C3E}"/>
              </a:ext>
            </a:extLst>
          </p:cNvPr>
          <p:cNvSpPr txBox="1">
            <a:spLocks/>
          </p:cNvSpPr>
          <p:nvPr/>
        </p:nvSpPr>
        <p:spPr bwMode="gray">
          <a:xfrm>
            <a:off x="332185" y="956104"/>
            <a:ext cx="287687" cy="216000"/>
          </a:xfrm>
          <a:prstGeom prst="rect">
            <a:avLst/>
          </a:prstGeom>
          <a:noFill/>
        </p:spPr>
        <p:txBody>
          <a:bodyPr vert="horz" lIns="0" tIns="108000" rIns="0" bIns="0" rtlCol="0" anchor="b">
            <a:no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783" rtl="0" eaLnBrk="1" latinLnBrk="0" hangingPunct="1">
              <a:lnSpc>
                <a:spcPct val="100000"/>
              </a:lnSpc>
              <a:spcBef>
                <a:spcPts val="288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—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A4D097B-3859-466A-8FBE-AACBD2CA2CE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32185" y="1369219"/>
            <a:ext cx="4105275" cy="925532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182FF839-6D9C-4A06-832A-84AE618FB5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706541" y="1369219"/>
            <a:ext cx="4105275" cy="925532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C4C4561-CB44-47BA-AD54-EC312018D82A}"/>
              </a:ext>
            </a:extLst>
          </p:cNvPr>
          <p:cNvSpPr>
            <a:spLocks noGrp="1"/>
          </p:cNvSpPr>
          <p:nvPr>
            <p:ph type="subTitle" idx="18"/>
          </p:nvPr>
        </p:nvSpPr>
        <p:spPr>
          <a:xfrm>
            <a:off x="332185" y="618295"/>
            <a:ext cx="7721963" cy="276999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800" b="0" i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225"/>
              </a:spcAft>
              <a:buNone/>
              <a:defRPr sz="1800" i="1">
                <a:solidFill>
                  <a:schemeClr val="accent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D45659-47D9-4864-9E0C-EF34CC6D2A6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First name last name, dat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48BD4AA6-FB0F-4FA9-898F-E71F39BC94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2185" y="112940"/>
            <a:ext cx="7721963" cy="115416"/>
          </a:xfrm>
        </p:spPr>
        <p:txBody>
          <a:bodyPr>
            <a:spAutoFit/>
          </a:bodyPr>
          <a:lstStyle>
            <a:lvl1pPr>
              <a:defRPr sz="75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800" b="0" i="1">
                <a:solidFill>
                  <a:schemeClr val="accent1"/>
                </a:solidFill>
              </a:defRPr>
            </a:lvl2pPr>
            <a:lvl3pPr>
              <a:defRPr sz="1800" b="0" i="1">
                <a:solidFill>
                  <a:schemeClr val="accent1"/>
                </a:solidFill>
              </a:defRPr>
            </a:lvl3pPr>
            <a:lvl4pPr>
              <a:defRPr sz="1800" b="0" i="1">
                <a:solidFill>
                  <a:schemeClr val="accent1"/>
                </a:solidFill>
              </a:defRPr>
            </a:lvl4pPr>
            <a:lvl5pPr>
              <a:defRPr sz="18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62E7B8BA-194C-4B55-90F2-C9F6CDC3F121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3"/>
            </p:custDataLst>
          </p:nvPr>
        </p:nvSpPr>
        <p:spPr>
          <a:xfrm>
            <a:off x="6724036" y="4885343"/>
            <a:ext cx="1728839" cy="115416"/>
          </a:xfrm>
        </p:spPr>
        <p:txBody>
          <a:bodyPr/>
          <a:lstStyle>
            <a:lvl1pPr algn="r">
              <a:defRPr sz="750" b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Internal confidential  •  Copyright® 202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364396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840">
          <p15:clr>
            <a:srgbClr val="9FCC3B"/>
          </p15:clr>
        </p15:guide>
        <p15:guide id="2" orient="horz" pos="2160">
          <p15:clr>
            <a:srgbClr val="9FCC3B"/>
          </p15:clr>
        </p15:guide>
        <p15:guide id="3" orient="horz" pos="1933">
          <p15:clr>
            <a:srgbClr val="9FCC3B"/>
          </p15:clr>
        </p15:guide>
        <p15:guide id="4" orient="horz" pos="1139">
          <p15:clr>
            <a:srgbClr val="9FCC3B"/>
          </p15:clr>
        </p15:guide>
        <p15:guide id="5" pos="7401">
          <p15:clr>
            <a:srgbClr val="9FCC3B"/>
          </p15:clr>
        </p15:guide>
        <p15:guide id="6" pos="279">
          <p15:clr>
            <a:srgbClr val="9FCC3B"/>
          </p15:clr>
        </p15:guide>
        <p15:guide id="7" pos="3727">
          <p15:clr>
            <a:srgbClr val="9FCC3B"/>
          </p15:clr>
        </p15:guide>
        <p15:guide id="8" pos="3953">
          <p15:clr>
            <a:srgbClr val="9FCC3B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| White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BC1DF02-DACA-4CEE-887B-C1FF554FE6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778533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2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BC1DF02-DACA-4CEE-887B-C1FF554FE6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C5735CDA-9FDC-41D3-938F-01093C3A8BB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5191" cy="5143500"/>
          </a:xfrm>
          <a:custGeom>
            <a:avLst/>
            <a:gdLst>
              <a:gd name="connsiteX0" fmla="*/ 11616773 w 12193588"/>
              <a:gd name="connsiteY0" fmla="*/ 766683 h 6858000"/>
              <a:gd name="connsiteX1" fmla="*/ 11606920 w 12193588"/>
              <a:gd name="connsiteY1" fmla="*/ 776535 h 6858000"/>
              <a:gd name="connsiteX2" fmla="*/ 11616773 w 12193588"/>
              <a:gd name="connsiteY2" fmla="*/ 786388 h 6858000"/>
              <a:gd name="connsiteX3" fmla="*/ 11626627 w 12193588"/>
              <a:gd name="connsiteY3" fmla="*/ 776535 h 6858000"/>
              <a:gd name="connsiteX4" fmla="*/ 11616773 w 12193588"/>
              <a:gd name="connsiteY4" fmla="*/ 766683 h 6858000"/>
              <a:gd name="connsiteX5" fmla="*/ 11063577 w 12193588"/>
              <a:gd name="connsiteY5" fmla="*/ 714599 h 6858000"/>
              <a:gd name="connsiteX6" fmla="*/ 11111436 w 12193588"/>
              <a:gd name="connsiteY6" fmla="*/ 770903 h 6858000"/>
              <a:gd name="connsiteX7" fmla="*/ 11111436 w 12193588"/>
              <a:gd name="connsiteY7" fmla="*/ 773720 h 6858000"/>
              <a:gd name="connsiteX8" fmla="*/ 11110029 w 12193588"/>
              <a:gd name="connsiteY8" fmla="*/ 773720 h 6858000"/>
              <a:gd name="connsiteX9" fmla="*/ 11004456 w 12193588"/>
              <a:gd name="connsiteY9" fmla="*/ 773720 h 6858000"/>
              <a:gd name="connsiteX10" fmla="*/ 11063577 w 12193588"/>
              <a:gd name="connsiteY10" fmla="*/ 714599 h 6858000"/>
              <a:gd name="connsiteX11" fmla="*/ 11435366 w 12193588"/>
              <a:gd name="connsiteY11" fmla="*/ 690142 h 6858000"/>
              <a:gd name="connsiteX12" fmla="*/ 11450674 w 12193588"/>
              <a:gd name="connsiteY12" fmla="*/ 692078 h 6858000"/>
              <a:gd name="connsiteX13" fmla="*/ 11452081 w 12193588"/>
              <a:gd name="connsiteY13" fmla="*/ 692078 h 6858000"/>
              <a:gd name="connsiteX14" fmla="*/ 11450674 w 12193588"/>
              <a:gd name="connsiteY14" fmla="*/ 693485 h 6858000"/>
              <a:gd name="connsiteX15" fmla="*/ 11430967 w 12193588"/>
              <a:gd name="connsiteY15" fmla="*/ 710377 h 6858000"/>
              <a:gd name="connsiteX16" fmla="*/ 11414075 w 12193588"/>
              <a:gd name="connsiteY16" fmla="*/ 714599 h 6858000"/>
              <a:gd name="connsiteX17" fmla="*/ 11399999 w 12193588"/>
              <a:gd name="connsiteY17" fmla="*/ 711785 h 6858000"/>
              <a:gd name="connsiteX18" fmla="*/ 11416891 w 12193588"/>
              <a:gd name="connsiteY18" fmla="*/ 697709 h 6858000"/>
              <a:gd name="connsiteX19" fmla="*/ 11435366 w 12193588"/>
              <a:gd name="connsiteY19" fmla="*/ 690142 h 6858000"/>
              <a:gd name="connsiteX20" fmla="*/ 10686333 w 12193588"/>
              <a:gd name="connsiteY20" fmla="*/ 686446 h 6858000"/>
              <a:gd name="connsiteX21" fmla="*/ 10686333 w 12193588"/>
              <a:gd name="connsiteY21" fmla="*/ 913075 h 6858000"/>
              <a:gd name="connsiteX22" fmla="*/ 10725745 w 12193588"/>
              <a:gd name="connsiteY22" fmla="*/ 913075 h 6858000"/>
              <a:gd name="connsiteX23" fmla="*/ 10725745 w 12193588"/>
              <a:gd name="connsiteY23" fmla="*/ 686446 h 6858000"/>
              <a:gd name="connsiteX24" fmla="*/ 9936067 w 12193588"/>
              <a:gd name="connsiteY24" fmla="*/ 686446 h 6858000"/>
              <a:gd name="connsiteX25" fmla="*/ 10019115 w 12193588"/>
              <a:gd name="connsiteY25" fmla="*/ 913075 h 6858000"/>
              <a:gd name="connsiteX26" fmla="*/ 10017708 w 12193588"/>
              <a:gd name="connsiteY26" fmla="*/ 920112 h 6858000"/>
              <a:gd name="connsiteX27" fmla="*/ 9974072 w 12193588"/>
              <a:gd name="connsiteY27" fmla="*/ 959526 h 6858000"/>
              <a:gd name="connsiteX28" fmla="*/ 9948735 w 12193588"/>
              <a:gd name="connsiteY28" fmla="*/ 956711 h 6858000"/>
              <a:gd name="connsiteX29" fmla="*/ 9948735 w 12193588"/>
              <a:gd name="connsiteY29" fmla="*/ 987679 h 6858000"/>
              <a:gd name="connsiteX30" fmla="*/ 9976888 w 12193588"/>
              <a:gd name="connsiteY30" fmla="*/ 991901 h 6858000"/>
              <a:gd name="connsiteX31" fmla="*/ 10054307 w 12193588"/>
              <a:gd name="connsiteY31" fmla="*/ 931373 h 6858000"/>
              <a:gd name="connsiteX32" fmla="*/ 10137358 w 12193588"/>
              <a:gd name="connsiteY32" fmla="*/ 686446 h 6858000"/>
              <a:gd name="connsiteX33" fmla="*/ 10096535 w 12193588"/>
              <a:gd name="connsiteY33" fmla="*/ 686446 h 6858000"/>
              <a:gd name="connsiteX34" fmla="*/ 10041638 w 12193588"/>
              <a:gd name="connsiteY34" fmla="*/ 862399 h 6858000"/>
              <a:gd name="connsiteX35" fmla="*/ 10040231 w 12193588"/>
              <a:gd name="connsiteY35" fmla="*/ 862399 h 6858000"/>
              <a:gd name="connsiteX36" fmla="*/ 9978294 w 12193588"/>
              <a:gd name="connsiteY36" fmla="*/ 686446 h 6858000"/>
              <a:gd name="connsiteX37" fmla="*/ 10859471 w 12193588"/>
              <a:gd name="connsiteY37" fmla="*/ 683631 h 6858000"/>
              <a:gd name="connsiteX38" fmla="*/ 10780643 w 12193588"/>
              <a:gd name="connsiteY38" fmla="*/ 746974 h 6858000"/>
              <a:gd name="connsiteX39" fmla="*/ 10841171 w 12193588"/>
              <a:gd name="connsiteY39" fmla="*/ 813133 h 6858000"/>
              <a:gd name="connsiteX40" fmla="*/ 10887622 w 12193588"/>
              <a:gd name="connsiteY40" fmla="*/ 851138 h 6858000"/>
              <a:gd name="connsiteX41" fmla="*/ 10839764 w 12193588"/>
              <a:gd name="connsiteY41" fmla="*/ 884922 h 6858000"/>
              <a:gd name="connsiteX42" fmla="*/ 10777828 w 12193588"/>
              <a:gd name="connsiteY42" fmla="*/ 870845 h 6858000"/>
              <a:gd name="connsiteX43" fmla="*/ 10777828 w 12193588"/>
              <a:gd name="connsiteY43" fmla="*/ 903222 h 6858000"/>
              <a:gd name="connsiteX44" fmla="*/ 10845395 w 12193588"/>
              <a:gd name="connsiteY44" fmla="*/ 915890 h 6858000"/>
              <a:gd name="connsiteX45" fmla="*/ 10925630 w 12193588"/>
              <a:gd name="connsiteY45" fmla="*/ 848323 h 6858000"/>
              <a:gd name="connsiteX46" fmla="*/ 10858063 w 12193588"/>
              <a:gd name="connsiteY46" fmla="*/ 779349 h 6858000"/>
              <a:gd name="connsiteX47" fmla="*/ 10820057 w 12193588"/>
              <a:gd name="connsiteY47" fmla="*/ 744159 h 6858000"/>
              <a:gd name="connsiteX48" fmla="*/ 10860878 w 12193588"/>
              <a:gd name="connsiteY48" fmla="*/ 714599 h 6858000"/>
              <a:gd name="connsiteX49" fmla="*/ 10915775 w 12193588"/>
              <a:gd name="connsiteY49" fmla="*/ 727267 h 6858000"/>
              <a:gd name="connsiteX50" fmla="*/ 10915775 w 12193588"/>
              <a:gd name="connsiteY50" fmla="*/ 693485 h 6858000"/>
              <a:gd name="connsiteX51" fmla="*/ 10859471 w 12193588"/>
              <a:gd name="connsiteY51" fmla="*/ 683631 h 6858000"/>
              <a:gd name="connsiteX52" fmla="*/ 10276712 w 12193588"/>
              <a:gd name="connsiteY52" fmla="*/ 683631 h 6858000"/>
              <a:gd name="connsiteX53" fmla="*/ 10211962 w 12193588"/>
              <a:gd name="connsiteY53" fmla="*/ 704746 h 6858000"/>
              <a:gd name="connsiteX54" fmla="*/ 10211962 w 12193588"/>
              <a:gd name="connsiteY54" fmla="*/ 686446 h 6858000"/>
              <a:gd name="connsiteX55" fmla="*/ 10172548 w 12193588"/>
              <a:gd name="connsiteY55" fmla="*/ 686446 h 6858000"/>
              <a:gd name="connsiteX56" fmla="*/ 10172548 w 12193588"/>
              <a:gd name="connsiteY56" fmla="*/ 913075 h 6858000"/>
              <a:gd name="connsiteX57" fmla="*/ 10211962 w 12193588"/>
              <a:gd name="connsiteY57" fmla="*/ 913075 h 6858000"/>
              <a:gd name="connsiteX58" fmla="*/ 10211962 w 12193588"/>
              <a:gd name="connsiteY58" fmla="*/ 731491 h 6858000"/>
              <a:gd name="connsiteX59" fmla="*/ 10257005 w 12193588"/>
              <a:gd name="connsiteY59" fmla="*/ 714599 h 6858000"/>
              <a:gd name="connsiteX60" fmla="*/ 10300641 w 12193588"/>
              <a:gd name="connsiteY60" fmla="*/ 766681 h 6858000"/>
              <a:gd name="connsiteX61" fmla="*/ 10300641 w 12193588"/>
              <a:gd name="connsiteY61" fmla="*/ 911666 h 6858000"/>
              <a:gd name="connsiteX62" fmla="*/ 10340055 w 12193588"/>
              <a:gd name="connsiteY62" fmla="*/ 911666 h 6858000"/>
              <a:gd name="connsiteX63" fmla="*/ 10340055 w 12193588"/>
              <a:gd name="connsiteY63" fmla="*/ 758235 h 6858000"/>
              <a:gd name="connsiteX64" fmla="*/ 10335833 w 12193588"/>
              <a:gd name="connsiteY64" fmla="*/ 728676 h 6858000"/>
              <a:gd name="connsiteX65" fmla="*/ 10383692 w 12193588"/>
              <a:gd name="connsiteY65" fmla="*/ 714599 h 6858000"/>
              <a:gd name="connsiteX66" fmla="*/ 10430143 w 12193588"/>
              <a:gd name="connsiteY66" fmla="*/ 768090 h 6858000"/>
              <a:gd name="connsiteX67" fmla="*/ 10430143 w 12193588"/>
              <a:gd name="connsiteY67" fmla="*/ 913075 h 6858000"/>
              <a:gd name="connsiteX68" fmla="*/ 10469557 w 12193588"/>
              <a:gd name="connsiteY68" fmla="*/ 913075 h 6858000"/>
              <a:gd name="connsiteX69" fmla="*/ 10469557 w 12193588"/>
              <a:gd name="connsiteY69" fmla="*/ 763866 h 6858000"/>
              <a:gd name="connsiteX70" fmla="*/ 10397768 w 12193588"/>
              <a:gd name="connsiteY70" fmla="*/ 683631 h 6858000"/>
              <a:gd name="connsiteX71" fmla="*/ 10327387 w 12193588"/>
              <a:gd name="connsiteY71" fmla="*/ 707560 h 6858000"/>
              <a:gd name="connsiteX72" fmla="*/ 10276712 w 12193588"/>
              <a:gd name="connsiteY72" fmla="*/ 683631 h 6858000"/>
              <a:gd name="connsiteX73" fmla="*/ 9850201 w 12193588"/>
              <a:gd name="connsiteY73" fmla="*/ 683631 h 6858000"/>
              <a:gd name="connsiteX74" fmla="*/ 9771375 w 12193588"/>
              <a:gd name="connsiteY74" fmla="*/ 746974 h 6858000"/>
              <a:gd name="connsiteX75" fmla="*/ 9833309 w 12193588"/>
              <a:gd name="connsiteY75" fmla="*/ 813133 h 6858000"/>
              <a:gd name="connsiteX76" fmla="*/ 9879761 w 12193588"/>
              <a:gd name="connsiteY76" fmla="*/ 851138 h 6858000"/>
              <a:gd name="connsiteX77" fmla="*/ 9831901 w 12193588"/>
              <a:gd name="connsiteY77" fmla="*/ 884922 h 6858000"/>
              <a:gd name="connsiteX78" fmla="*/ 9769966 w 12193588"/>
              <a:gd name="connsiteY78" fmla="*/ 870845 h 6858000"/>
              <a:gd name="connsiteX79" fmla="*/ 9769966 w 12193588"/>
              <a:gd name="connsiteY79" fmla="*/ 903222 h 6858000"/>
              <a:gd name="connsiteX80" fmla="*/ 9837531 w 12193588"/>
              <a:gd name="connsiteY80" fmla="*/ 915890 h 6858000"/>
              <a:gd name="connsiteX81" fmla="*/ 9917766 w 12193588"/>
              <a:gd name="connsiteY81" fmla="*/ 848323 h 6858000"/>
              <a:gd name="connsiteX82" fmla="*/ 9850201 w 12193588"/>
              <a:gd name="connsiteY82" fmla="*/ 779349 h 6858000"/>
              <a:gd name="connsiteX83" fmla="*/ 9810787 w 12193588"/>
              <a:gd name="connsiteY83" fmla="*/ 744159 h 6858000"/>
              <a:gd name="connsiteX84" fmla="*/ 9851608 w 12193588"/>
              <a:gd name="connsiteY84" fmla="*/ 714599 h 6858000"/>
              <a:gd name="connsiteX85" fmla="*/ 9906505 w 12193588"/>
              <a:gd name="connsiteY85" fmla="*/ 727267 h 6858000"/>
              <a:gd name="connsiteX86" fmla="*/ 9906505 w 12193588"/>
              <a:gd name="connsiteY86" fmla="*/ 693485 h 6858000"/>
              <a:gd name="connsiteX87" fmla="*/ 9850201 w 12193588"/>
              <a:gd name="connsiteY87" fmla="*/ 683631 h 6858000"/>
              <a:gd name="connsiteX88" fmla="*/ 11063577 w 12193588"/>
              <a:gd name="connsiteY88" fmla="*/ 682224 h 6858000"/>
              <a:gd name="connsiteX89" fmla="*/ 10962227 w 12193588"/>
              <a:gd name="connsiteY89" fmla="*/ 799056 h 6858000"/>
              <a:gd name="connsiteX90" fmla="*/ 11072023 w 12193588"/>
              <a:gd name="connsiteY90" fmla="*/ 915890 h 6858000"/>
              <a:gd name="connsiteX91" fmla="*/ 11136773 w 12193588"/>
              <a:gd name="connsiteY91" fmla="*/ 903222 h 6858000"/>
              <a:gd name="connsiteX92" fmla="*/ 11136773 w 12193588"/>
              <a:gd name="connsiteY92" fmla="*/ 870845 h 6858000"/>
              <a:gd name="connsiteX93" fmla="*/ 11073430 w 12193588"/>
              <a:gd name="connsiteY93" fmla="*/ 884922 h 6858000"/>
              <a:gd name="connsiteX94" fmla="*/ 11003049 w 12193588"/>
              <a:gd name="connsiteY94" fmla="*/ 800465 h 6858000"/>
              <a:gd name="connsiteX95" fmla="*/ 11150850 w 12193588"/>
              <a:gd name="connsiteY95" fmla="*/ 800465 h 6858000"/>
              <a:gd name="connsiteX96" fmla="*/ 11150850 w 12193588"/>
              <a:gd name="connsiteY96" fmla="*/ 782166 h 6858000"/>
              <a:gd name="connsiteX97" fmla="*/ 11063577 w 12193588"/>
              <a:gd name="connsiteY97" fmla="*/ 682224 h 6858000"/>
              <a:gd name="connsiteX98" fmla="*/ 10625803 w 12193588"/>
              <a:gd name="connsiteY98" fmla="*/ 682224 h 6858000"/>
              <a:gd name="connsiteX99" fmla="*/ 10569499 w 12193588"/>
              <a:gd name="connsiteY99" fmla="*/ 708968 h 6858000"/>
              <a:gd name="connsiteX100" fmla="*/ 10569499 w 12193588"/>
              <a:gd name="connsiteY100" fmla="*/ 685039 h 6858000"/>
              <a:gd name="connsiteX101" fmla="*/ 10530085 w 12193588"/>
              <a:gd name="connsiteY101" fmla="*/ 685039 h 6858000"/>
              <a:gd name="connsiteX102" fmla="*/ 10530085 w 12193588"/>
              <a:gd name="connsiteY102" fmla="*/ 911666 h 6858000"/>
              <a:gd name="connsiteX103" fmla="*/ 10569499 w 12193588"/>
              <a:gd name="connsiteY103" fmla="*/ 911666 h 6858000"/>
              <a:gd name="connsiteX104" fmla="*/ 10569499 w 12193588"/>
              <a:gd name="connsiteY104" fmla="*/ 738528 h 6858000"/>
              <a:gd name="connsiteX105" fmla="*/ 10621581 w 12193588"/>
              <a:gd name="connsiteY105" fmla="*/ 718823 h 6858000"/>
              <a:gd name="connsiteX106" fmla="*/ 10645510 w 12193588"/>
              <a:gd name="connsiteY106" fmla="*/ 721636 h 6858000"/>
              <a:gd name="connsiteX107" fmla="*/ 10645510 w 12193588"/>
              <a:gd name="connsiteY107" fmla="*/ 685039 h 6858000"/>
              <a:gd name="connsiteX108" fmla="*/ 10625803 w 12193588"/>
              <a:gd name="connsiteY108" fmla="*/ 682224 h 6858000"/>
              <a:gd name="connsiteX109" fmla="*/ 11461934 w 12193588"/>
              <a:gd name="connsiteY109" fmla="*/ 609028 h 6858000"/>
              <a:gd name="connsiteX110" fmla="*/ 11474603 w 12193588"/>
              <a:gd name="connsiteY110" fmla="*/ 618881 h 6858000"/>
              <a:gd name="connsiteX111" fmla="*/ 11461934 w 12193588"/>
              <a:gd name="connsiteY111" fmla="*/ 628735 h 6858000"/>
              <a:gd name="connsiteX112" fmla="*/ 11449266 w 12193588"/>
              <a:gd name="connsiteY112" fmla="*/ 618881 h 6858000"/>
              <a:gd name="connsiteX113" fmla="*/ 11461934 w 12193588"/>
              <a:gd name="connsiteY113" fmla="*/ 609028 h 6858000"/>
              <a:gd name="connsiteX114" fmla="*/ 10706038 w 12193588"/>
              <a:gd name="connsiteY114" fmla="*/ 593543 h 6858000"/>
              <a:gd name="connsiteX115" fmla="*/ 10679294 w 12193588"/>
              <a:gd name="connsiteY115" fmla="*/ 618881 h 6858000"/>
              <a:gd name="connsiteX116" fmla="*/ 10706038 w 12193588"/>
              <a:gd name="connsiteY116" fmla="*/ 644217 h 6858000"/>
              <a:gd name="connsiteX117" fmla="*/ 10732785 w 12193588"/>
              <a:gd name="connsiteY117" fmla="*/ 618881 h 6858000"/>
              <a:gd name="connsiteX118" fmla="*/ 10706038 w 12193588"/>
              <a:gd name="connsiteY118" fmla="*/ 593543 h 6858000"/>
              <a:gd name="connsiteX119" fmla="*/ 11508387 w 12193588"/>
              <a:gd name="connsiteY119" fmla="*/ 530201 h 6858000"/>
              <a:gd name="connsiteX120" fmla="*/ 11674486 w 12193588"/>
              <a:gd name="connsiteY120" fmla="*/ 606213 h 6858000"/>
              <a:gd name="connsiteX121" fmla="*/ 11678709 w 12193588"/>
              <a:gd name="connsiteY121" fmla="*/ 679409 h 6858000"/>
              <a:gd name="connsiteX122" fmla="*/ 11625219 w 12193588"/>
              <a:gd name="connsiteY122" fmla="*/ 676593 h 6858000"/>
              <a:gd name="connsiteX123" fmla="*/ 11629443 w 12193588"/>
              <a:gd name="connsiteY123" fmla="*/ 666741 h 6858000"/>
              <a:gd name="connsiteX124" fmla="*/ 11636480 w 12193588"/>
              <a:gd name="connsiteY124" fmla="*/ 665332 h 6858000"/>
              <a:gd name="connsiteX125" fmla="*/ 11637888 w 12193588"/>
              <a:gd name="connsiteY125" fmla="*/ 661110 h 6858000"/>
              <a:gd name="connsiteX126" fmla="*/ 11620997 w 12193588"/>
              <a:gd name="connsiteY126" fmla="*/ 655479 h 6858000"/>
              <a:gd name="connsiteX127" fmla="*/ 11599881 w 12193588"/>
              <a:gd name="connsiteY127" fmla="*/ 656888 h 6858000"/>
              <a:gd name="connsiteX128" fmla="*/ 11591435 w 12193588"/>
              <a:gd name="connsiteY128" fmla="*/ 654071 h 6858000"/>
              <a:gd name="connsiteX129" fmla="*/ 11588620 w 12193588"/>
              <a:gd name="connsiteY129" fmla="*/ 649849 h 6858000"/>
              <a:gd name="connsiteX130" fmla="*/ 11591435 w 12193588"/>
              <a:gd name="connsiteY130" fmla="*/ 641403 h 6858000"/>
              <a:gd name="connsiteX131" fmla="*/ 11599881 w 12193588"/>
              <a:gd name="connsiteY131" fmla="*/ 639996 h 6858000"/>
              <a:gd name="connsiteX132" fmla="*/ 11601290 w 12193588"/>
              <a:gd name="connsiteY132" fmla="*/ 635772 h 6858000"/>
              <a:gd name="connsiteX133" fmla="*/ 11584398 w 12193588"/>
              <a:gd name="connsiteY133" fmla="*/ 630142 h 6858000"/>
              <a:gd name="connsiteX134" fmla="*/ 11563284 w 12193588"/>
              <a:gd name="connsiteY134" fmla="*/ 631550 h 6858000"/>
              <a:gd name="connsiteX135" fmla="*/ 11554838 w 12193588"/>
              <a:gd name="connsiteY135" fmla="*/ 628735 h 6858000"/>
              <a:gd name="connsiteX136" fmla="*/ 11552023 w 12193588"/>
              <a:gd name="connsiteY136" fmla="*/ 624511 h 6858000"/>
              <a:gd name="connsiteX137" fmla="*/ 11554838 w 12193588"/>
              <a:gd name="connsiteY137" fmla="*/ 614659 h 6858000"/>
              <a:gd name="connsiteX138" fmla="*/ 11563284 w 12193588"/>
              <a:gd name="connsiteY138" fmla="*/ 613250 h 6858000"/>
              <a:gd name="connsiteX139" fmla="*/ 11564691 w 12193588"/>
              <a:gd name="connsiteY139" fmla="*/ 609028 h 6858000"/>
              <a:gd name="connsiteX140" fmla="*/ 11547799 w 12193588"/>
              <a:gd name="connsiteY140" fmla="*/ 603397 h 6858000"/>
              <a:gd name="connsiteX141" fmla="*/ 11526685 w 12193588"/>
              <a:gd name="connsiteY141" fmla="*/ 604804 h 6858000"/>
              <a:gd name="connsiteX142" fmla="*/ 11522463 w 12193588"/>
              <a:gd name="connsiteY142" fmla="*/ 603397 h 6858000"/>
              <a:gd name="connsiteX143" fmla="*/ 11521055 w 12193588"/>
              <a:gd name="connsiteY143" fmla="*/ 600582 h 6858000"/>
              <a:gd name="connsiteX144" fmla="*/ 11522463 w 12193588"/>
              <a:gd name="connsiteY144" fmla="*/ 593545 h 6858000"/>
              <a:gd name="connsiteX145" fmla="*/ 11523870 w 12193588"/>
              <a:gd name="connsiteY145" fmla="*/ 573836 h 6858000"/>
              <a:gd name="connsiteX146" fmla="*/ 11511200 w 12193588"/>
              <a:gd name="connsiteY146" fmla="*/ 551315 h 6858000"/>
              <a:gd name="connsiteX147" fmla="*/ 11506978 w 12193588"/>
              <a:gd name="connsiteY147" fmla="*/ 549907 h 6858000"/>
              <a:gd name="connsiteX148" fmla="*/ 11505571 w 12193588"/>
              <a:gd name="connsiteY148" fmla="*/ 555537 h 6858000"/>
              <a:gd name="connsiteX149" fmla="*/ 11480234 w 12193588"/>
              <a:gd name="connsiteY149" fmla="*/ 589321 h 6858000"/>
              <a:gd name="connsiteX150" fmla="*/ 11471788 w 12193588"/>
              <a:gd name="connsiteY150" fmla="*/ 589321 h 6858000"/>
              <a:gd name="connsiteX151" fmla="*/ 11466157 w 12193588"/>
              <a:gd name="connsiteY151" fmla="*/ 589321 h 6858000"/>
              <a:gd name="connsiteX152" fmla="*/ 11463342 w 12193588"/>
              <a:gd name="connsiteY152" fmla="*/ 589321 h 6858000"/>
              <a:gd name="connsiteX153" fmla="*/ 11457711 w 12193588"/>
              <a:gd name="connsiteY153" fmla="*/ 589321 h 6858000"/>
              <a:gd name="connsiteX154" fmla="*/ 11449266 w 12193588"/>
              <a:gd name="connsiteY154" fmla="*/ 590728 h 6858000"/>
              <a:gd name="connsiteX155" fmla="*/ 11429558 w 12193588"/>
              <a:gd name="connsiteY155" fmla="*/ 610435 h 6858000"/>
              <a:gd name="connsiteX156" fmla="*/ 11429558 w 12193588"/>
              <a:gd name="connsiteY156" fmla="*/ 613250 h 6858000"/>
              <a:gd name="connsiteX157" fmla="*/ 11426743 w 12193588"/>
              <a:gd name="connsiteY157" fmla="*/ 617474 h 6858000"/>
              <a:gd name="connsiteX158" fmla="*/ 11415482 w 12193588"/>
              <a:gd name="connsiteY158" fmla="*/ 618881 h 6858000"/>
              <a:gd name="connsiteX159" fmla="*/ 11373254 w 12193588"/>
              <a:gd name="connsiteY159" fmla="*/ 607620 h 6858000"/>
              <a:gd name="connsiteX160" fmla="*/ 11370439 w 12193588"/>
              <a:gd name="connsiteY160" fmla="*/ 606213 h 6858000"/>
              <a:gd name="connsiteX161" fmla="*/ 11369031 w 12193588"/>
              <a:gd name="connsiteY161" fmla="*/ 607620 h 6858000"/>
              <a:gd name="connsiteX162" fmla="*/ 11357769 w 12193588"/>
              <a:gd name="connsiteY162" fmla="*/ 637181 h 6858000"/>
              <a:gd name="connsiteX163" fmla="*/ 11377476 w 12193588"/>
              <a:gd name="connsiteY163" fmla="*/ 673778 h 6858000"/>
              <a:gd name="connsiteX164" fmla="*/ 11384514 w 12193588"/>
              <a:gd name="connsiteY164" fmla="*/ 678002 h 6858000"/>
              <a:gd name="connsiteX165" fmla="*/ 11384514 w 12193588"/>
              <a:gd name="connsiteY165" fmla="*/ 675187 h 6858000"/>
              <a:gd name="connsiteX166" fmla="*/ 11387331 w 12193588"/>
              <a:gd name="connsiteY166" fmla="*/ 665332 h 6858000"/>
              <a:gd name="connsiteX167" fmla="*/ 11405629 w 12193588"/>
              <a:gd name="connsiteY167" fmla="*/ 661110 h 6858000"/>
              <a:gd name="connsiteX168" fmla="*/ 11407036 w 12193588"/>
              <a:gd name="connsiteY168" fmla="*/ 662517 h 6858000"/>
              <a:gd name="connsiteX169" fmla="*/ 11419706 w 12193588"/>
              <a:gd name="connsiteY169" fmla="*/ 666741 h 6858000"/>
              <a:gd name="connsiteX170" fmla="*/ 11432374 w 12193588"/>
              <a:gd name="connsiteY170" fmla="*/ 662517 h 6858000"/>
              <a:gd name="connsiteX171" fmla="*/ 11450674 w 12193588"/>
              <a:gd name="connsiteY171" fmla="*/ 662517 h 6858000"/>
              <a:gd name="connsiteX172" fmla="*/ 11453489 w 12193588"/>
              <a:gd name="connsiteY172" fmla="*/ 678002 h 6858000"/>
              <a:gd name="connsiteX173" fmla="*/ 11453489 w 12193588"/>
              <a:gd name="connsiteY173" fmla="*/ 679409 h 6858000"/>
              <a:gd name="connsiteX174" fmla="*/ 11452081 w 12193588"/>
              <a:gd name="connsiteY174" fmla="*/ 679409 h 6858000"/>
              <a:gd name="connsiteX175" fmla="*/ 11418297 w 12193588"/>
              <a:gd name="connsiteY175" fmla="*/ 676593 h 6858000"/>
              <a:gd name="connsiteX176" fmla="*/ 11398590 w 12193588"/>
              <a:gd name="connsiteY176" fmla="*/ 685039 h 6858000"/>
              <a:gd name="connsiteX177" fmla="*/ 11364808 w 12193588"/>
              <a:gd name="connsiteY177" fmla="*/ 692078 h 6858000"/>
              <a:gd name="connsiteX178" fmla="*/ 11343693 w 12193588"/>
              <a:gd name="connsiteY178" fmla="*/ 672371 h 6858000"/>
              <a:gd name="connsiteX179" fmla="*/ 11342286 w 12193588"/>
              <a:gd name="connsiteY179" fmla="*/ 669556 h 6858000"/>
              <a:gd name="connsiteX180" fmla="*/ 11340878 w 12193588"/>
              <a:gd name="connsiteY180" fmla="*/ 673778 h 6858000"/>
              <a:gd name="connsiteX181" fmla="*/ 11349323 w 12193588"/>
              <a:gd name="connsiteY181" fmla="*/ 707561 h 6858000"/>
              <a:gd name="connsiteX182" fmla="*/ 11390146 w 12193588"/>
              <a:gd name="connsiteY182" fmla="*/ 713192 h 6858000"/>
              <a:gd name="connsiteX183" fmla="*/ 11391553 w 12193588"/>
              <a:gd name="connsiteY183" fmla="*/ 711785 h 6858000"/>
              <a:gd name="connsiteX184" fmla="*/ 11391553 w 12193588"/>
              <a:gd name="connsiteY184" fmla="*/ 713192 h 6858000"/>
              <a:gd name="connsiteX185" fmla="*/ 11395775 w 12193588"/>
              <a:gd name="connsiteY185" fmla="*/ 727269 h 6858000"/>
              <a:gd name="connsiteX186" fmla="*/ 11414075 w 12193588"/>
              <a:gd name="connsiteY186" fmla="*/ 739937 h 6858000"/>
              <a:gd name="connsiteX187" fmla="*/ 11436598 w 12193588"/>
              <a:gd name="connsiteY187" fmla="*/ 730084 h 6858000"/>
              <a:gd name="connsiteX188" fmla="*/ 11484456 w 12193588"/>
              <a:gd name="connsiteY188" fmla="*/ 713192 h 6858000"/>
              <a:gd name="connsiteX189" fmla="*/ 11552023 w 12193588"/>
              <a:gd name="connsiteY189" fmla="*/ 786388 h 6858000"/>
              <a:gd name="connsiteX190" fmla="*/ 11557654 w 12193588"/>
              <a:gd name="connsiteY190" fmla="*/ 796242 h 6858000"/>
              <a:gd name="connsiteX191" fmla="*/ 11557654 w 12193588"/>
              <a:gd name="connsiteY191" fmla="*/ 797649 h 6858000"/>
              <a:gd name="connsiteX192" fmla="*/ 11563284 w 12193588"/>
              <a:gd name="connsiteY192" fmla="*/ 801873 h 6858000"/>
              <a:gd name="connsiteX193" fmla="*/ 11566099 w 12193588"/>
              <a:gd name="connsiteY193" fmla="*/ 797649 h 6858000"/>
              <a:gd name="connsiteX194" fmla="*/ 11595659 w 12193588"/>
              <a:gd name="connsiteY194" fmla="*/ 758237 h 6858000"/>
              <a:gd name="connsiteX195" fmla="*/ 11622404 w 12193588"/>
              <a:gd name="connsiteY195" fmla="*/ 754013 h 6858000"/>
              <a:gd name="connsiteX196" fmla="*/ 11625219 w 12193588"/>
              <a:gd name="connsiteY196" fmla="*/ 754013 h 6858000"/>
              <a:gd name="connsiteX197" fmla="*/ 11650556 w 12193588"/>
              <a:gd name="connsiteY197" fmla="*/ 744160 h 6858000"/>
              <a:gd name="connsiteX198" fmla="*/ 11718122 w 12193588"/>
              <a:gd name="connsiteY198" fmla="*/ 718823 h 6858000"/>
              <a:gd name="connsiteX199" fmla="*/ 11727976 w 12193588"/>
              <a:gd name="connsiteY199" fmla="*/ 721638 h 6858000"/>
              <a:gd name="connsiteX200" fmla="*/ 11725161 w 12193588"/>
              <a:gd name="connsiteY200" fmla="*/ 728675 h 6858000"/>
              <a:gd name="connsiteX201" fmla="*/ 11720939 w 12193588"/>
              <a:gd name="connsiteY201" fmla="*/ 730084 h 6858000"/>
              <a:gd name="connsiteX202" fmla="*/ 11639295 w 12193588"/>
              <a:gd name="connsiteY202" fmla="*/ 789205 h 6858000"/>
              <a:gd name="connsiteX203" fmla="*/ 11636480 w 12193588"/>
              <a:gd name="connsiteY203" fmla="*/ 810319 h 6858000"/>
              <a:gd name="connsiteX204" fmla="*/ 11636480 w 12193588"/>
              <a:gd name="connsiteY204" fmla="*/ 820172 h 6858000"/>
              <a:gd name="connsiteX205" fmla="*/ 11609736 w 12193588"/>
              <a:gd name="connsiteY205" fmla="*/ 886330 h 6858000"/>
              <a:gd name="connsiteX206" fmla="*/ 11582989 w 12193588"/>
              <a:gd name="connsiteY206" fmla="*/ 908852 h 6858000"/>
              <a:gd name="connsiteX207" fmla="*/ 11577361 w 12193588"/>
              <a:gd name="connsiteY207" fmla="*/ 914483 h 6858000"/>
              <a:gd name="connsiteX208" fmla="*/ 11571730 w 12193588"/>
              <a:gd name="connsiteY208" fmla="*/ 921520 h 6858000"/>
              <a:gd name="connsiteX209" fmla="*/ 11544984 w 12193588"/>
              <a:gd name="connsiteY209" fmla="*/ 951082 h 6858000"/>
              <a:gd name="connsiteX210" fmla="*/ 11518239 w 12193588"/>
              <a:gd name="connsiteY210" fmla="*/ 969380 h 6858000"/>
              <a:gd name="connsiteX211" fmla="*/ 11516833 w 12193588"/>
              <a:gd name="connsiteY211" fmla="*/ 969380 h 6858000"/>
              <a:gd name="connsiteX212" fmla="*/ 11515424 w 12193588"/>
              <a:gd name="connsiteY212" fmla="*/ 967974 h 6858000"/>
              <a:gd name="connsiteX213" fmla="*/ 11529501 w 12193588"/>
              <a:gd name="connsiteY213" fmla="*/ 946858 h 6858000"/>
              <a:gd name="connsiteX214" fmla="*/ 11543577 w 12193588"/>
              <a:gd name="connsiteY214" fmla="*/ 927151 h 6858000"/>
              <a:gd name="connsiteX215" fmla="*/ 11529501 w 12193588"/>
              <a:gd name="connsiteY215" fmla="*/ 932782 h 6858000"/>
              <a:gd name="connsiteX216" fmla="*/ 11515424 w 12193588"/>
              <a:gd name="connsiteY216" fmla="*/ 939821 h 6858000"/>
              <a:gd name="connsiteX217" fmla="*/ 11447857 w 12193588"/>
              <a:gd name="connsiteY217" fmla="*/ 958119 h 6858000"/>
              <a:gd name="connsiteX218" fmla="*/ 11447857 w 12193588"/>
              <a:gd name="connsiteY218" fmla="*/ 955304 h 6858000"/>
              <a:gd name="connsiteX219" fmla="*/ 11467564 w 12193588"/>
              <a:gd name="connsiteY219" fmla="*/ 942636 h 6858000"/>
              <a:gd name="connsiteX220" fmla="*/ 11528092 w 12193588"/>
              <a:gd name="connsiteY220" fmla="*/ 893369 h 6858000"/>
              <a:gd name="connsiteX221" fmla="*/ 11491495 w 12193588"/>
              <a:gd name="connsiteY221" fmla="*/ 866623 h 6858000"/>
              <a:gd name="connsiteX222" fmla="*/ 11430967 w 12193588"/>
              <a:gd name="connsiteY222" fmla="*/ 801873 h 6858000"/>
              <a:gd name="connsiteX223" fmla="*/ 11316948 w 12193588"/>
              <a:gd name="connsiteY223" fmla="*/ 856770 h 6858000"/>
              <a:gd name="connsiteX224" fmla="*/ 11288796 w 12193588"/>
              <a:gd name="connsiteY224" fmla="*/ 749791 h 6858000"/>
              <a:gd name="connsiteX225" fmla="*/ 11508387 w 12193588"/>
              <a:gd name="connsiteY225" fmla="*/ 530201 h 6858000"/>
              <a:gd name="connsiteX226" fmla="*/ 11509794 w 12193588"/>
              <a:gd name="connsiteY226" fmla="*/ 511901 h 6858000"/>
              <a:gd name="connsiteX227" fmla="*/ 11270497 w 12193588"/>
              <a:gd name="connsiteY227" fmla="*/ 751198 h 6858000"/>
              <a:gd name="connsiteX228" fmla="*/ 11509794 w 12193588"/>
              <a:gd name="connsiteY228" fmla="*/ 990494 h 6858000"/>
              <a:gd name="connsiteX229" fmla="*/ 11749090 w 12193588"/>
              <a:gd name="connsiteY229" fmla="*/ 751198 h 6858000"/>
              <a:gd name="connsiteX230" fmla="*/ 11509794 w 12193588"/>
              <a:gd name="connsiteY230" fmla="*/ 511901 h 6858000"/>
              <a:gd name="connsiteX231" fmla="*/ 0 w 12193588"/>
              <a:gd name="connsiteY231" fmla="*/ 0 h 6858000"/>
              <a:gd name="connsiteX232" fmla="*/ 12193588 w 12193588"/>
              <a:gd name="connsiteY232" fmla="*/ 0 h 6858000"/>
              <a:gd name="connsiteX233" fmla="*/ 12193588 w 12193588"/>
              <a:gd name="connsiteY233" fmla="*/ 6858000 h 6858000"/>
              <a:gd name="connsiteX234" fmla="*/ 0 w 12193588"/>
              <a:gd name="connsiteY23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</a:cxnLst>
            <a:rect l="l" t="t" r="r" b="b"/>
            <a:pathLst>
              <a:path w="12193588" h="6858000">
                <a:moveTo>
                  <a:pt x="11616773" y="766683"/>
                </a:moveTo>
                <a:cubicBezTo>
                  <a:pt x="11611142" y="766683"/>
                  <a:pt x="11606920" y="770905"/>
                  <a:pt x="11606920" y="776535"/>
                </a:cubicBezTo>
                <a:cubicBezTo>
                  <a:pt x="11606920" y="782166"/>
                  <a:pt x="11611142" y="786388"/>
                  <a:pt x="11616773" y="786388"/>
                </a:cubicBezTo>
                <a:cubicBezTo>
                  <a:pt x="11622404" y="784981"/>
                  <a:pt x="11626627" y="780759"/>
                  <a:pt x="11626627" y="776535"/>
                </a:cubicBezTo>
                <a:cubicBezTo>
                  <a:pt x="11626627" y="770905"/>
                  <a:pt x="11622404" y="766683"/>
                  <a:pt x="11616773" y="766683"/>
                </a:cubicBezTo>
                <a:close/>
                <a:moveTo>
                  <a:pt x="11063577" y="714599"/>
                </a:moveTo>
                <a:cubicBezTo>
                  <a:pt x="11094544" y="714599"/>
                  <a:pt x="11111436" y="741343"/>
                  <a:pt x="11111436" y="770903"/>
                </a:cubicBezTo>
                <a:lnTo>
                  <a:pt x="11111436" y="773720"/>
                </a:lnTo>
                <a:lnTo>
                  <a:pt x="11110029" y="773720"/>
                </a:lnTo>
                <a:lnTo>
                  <a:pt x="11004456" y="773720"/>
                </a:lnTo>
                <a:cubicBezTo>
                  <a:pt x="11010087" y="731491"/>
                  <a:pt x="11034016" y="714599"/>
                  <a:pt x="11063577" y="714599"/>
                </a:cubicBezTo>
                <a:close/>
                <a:moveTo>
                  <a:pt x="11435366" y="690142"/>
                </a:moveTo>
                <a:cubicBezTo>
                  <a:pt x="11440820" y="689263"/>
                  <a:pt x="11445747" y="689966"/>
                  <a:pt x="11450674" y="692078"/>
                </a:cubicBezTo>
                <a:lnTo>
                  <a:pt x="11452081" y="692078"/>
                </a:lnTo>
                <a:cubicBezTo>
                  <a:pt x="11452081" y="692078"/>
                  <a:pt x="11452081" y="693485"/>
                  <a:pt x="11450674" y="693485"/>
                </a:cubicBezTo>
                <a:cubicBezTo>
                  <a:pt x="11447857" y="699116"/>
                  <a:pt x="11442228" y="706155"/>
                  <a:pt x="11430967" y="710377"/>
                </a:cubicBezTo>
                <a:cubicBezTo>
                  <a:pt x="11423928" y="713192"/>
                  <a:pt x="11419706" y="714599"/>
                  <a:pt x="11414075" y="714599"/>
                </a:cubicBezTo>
                <a:cubicBezTo>
                  <a:pt x="11407036" y="714599"/>
                  <a:pt x="11401406" y="713192"/>
                  <a:pt x="11399999" y="711785"/>
                </a:cubicBezTo>
                <a:cubicBezTo>
                  <a:pt x="11399999" y="711785"/>
                  <a:pt x="11407036" y="704746"/>
                  <a:pt x="11416891" y="697709"/>
                </a:cubicBezTo>
                <a:cubicBezTo>
                  <a:pt x="11423929" y="693486"/>
                  <a:pt x="11429911" y="691022"/>
                  <a:pt x="11435366" y="690142"/>
                </a:cubicBezTo>
                <a:close/>
                <a:moveTo>
                  <a:pt x="10686333" y="686446"/>
                </a:moveTo>
                <a:lnTo>
                  <a:pt x="10686333" y="913075"/>
                </a:lnTo>
                <a:lnTo>
                  <a:pt x="10725745" y="913075"/>
                </a:lnTo>
                <a:lnTo>
                  <a:pt x="10725745" y="686446"/>
                </a:lnTo>
                <a:close/>
                <a:moveTo>
                  <a:pt x="9936067" y="686446"/>
                </a:moveTo>
                <a:lnTo>
                  <a:pt x="10019115" y="913075"/>
                </a:lnTo>
                <a:lnTo>
                  <a:pt x="10017708" y="920112"/>
                </a:lnTo>
                <a:cubicBezTo>
                  <a:pt x="10010671" y="941228"/>
                  <a:pt x="9999410" y="959526"/>
                  <a:pt x="9974072" y="959526"/>
                </a:cubicBezTo>
                <a:cubicBezTo>
                  <a:pt x="9965626" y="959526"/>
                  <a:pt x="9955772" y="958119"/>
                  <a:pt x="9948735" y="956711"/>
                </a:cubicBezTo>
                <a:lnTo>
                  <a:pt x="9948735" y="987679"/>
                </a:lnTo>
                <a:cubicBezTo>
                  <a:pt x="9957180" y="990494"/>
                  <a:pt x="9964218" y="991901"/>
                  <a:pt x="9976888" y="991901"/>
                </a:cubicBezTo>
                <a:cubicBezTo>
                  <a:pt x="10020524" y="990494"/>
                  <a:pt x="10040231" y="972196"/>
                  <a:pt x="10054307" y="931373"/>
                </a:cubicBezTo>
                <a:lnTo>
                  <a:pt x="10137358" y="686446"/>
                </a:lnTo>
                <a:lnTo>
                  <a:pt x="10096535" y="686446"/>
                </a:lnTo>
                <a:lnTo>
                  <a:pt x="10041638" y="862399"/>
                </a:lnTo>
                <a:lnTo>
                  <a:pt x="10040231" y="862399"/>
                </a:lnTo>
                <a:lnTo>
                  <a:pt x="9978294" y="686446"/>
                </a:lnTo>
                <a:close/>
                <a:moveTo>
                  <a:pt x="10859471" y="683631"/>
                </a:moveTo>
                <a:cubicBezTo>
                  <a:pt x="10813020" y="683631"/>
                  <a:pt x="10780643" y="703338"/>
                  <a:pt x="10780643" y="746974"/>
                </a:cubicBezTo>
                <a:cubicBezTo>
                  <a:pt x="10780643" y="782166"/>
                  <a:pt x="10804574" y="800465"/>
                  <a:pt x="10841171" y="813133"/>
                </a:cubicBezTo>
                <a:cubicBezTo>
                  <a:pt x="10872139" y="824394"/>
                  <a:pt x="10887622" y="830024"/>
                  <a:pt x="10887622" y="851138"/>
                </a:cubicBezTo>
                <a:cubicBezTo>
                  <a:pt x="10887622" y="875069"/>
                  <a:pt x="10870730" y="884922"/>
                  <a:pt x="10839764" y="884922"/>
                </a:cubicBezTo>
                <a:cubicBezTo>
                  <a:pt x="10818650" y="884922"/>
                  <a:pt x="10791904" y="877884"/>
                  <a:pt x="10777828" y="870845"/>
                </a:cubicBezTo>
                <a:lnTo>
                  <a:pt x="10777828" y="903222"/>
                </a:lnTo>
                <a:cubicBezTo>
                  <a:pt x="10794719" y="911666"/>
                  <a:pt x="10821464" y="915890"/>
                  <a:pt x="10845395" y="915890"/>
                </a:cubicBezTo>
                <a:cubicBezTo>
                  <a:pt x="10893253" y="915890"/>
                  <a:pt x="10925630" y="890552"/>
                  <a:pt x="10925630" y="848323"/>
                </a:cubicBezTo>
                <a:cubicBezTo>
                  <a:pt x="10925630" y="803280"/>
                  <a:pt x="10889031" y="789203"/>
                  <a:pt x="10858063" y="779349"/>
                </a:cubicBezTo>
                <a:cubicBezTo>
                  <a:pt x="10832725" y="769496"/>
                  <a:pt x="10820057" y="762459"/>
                  <a:pt x="10820057" y="744159"/>
                </a:cubicBezTo>
                <a:cubicBezTo>
                  <a:pt x="10820057" y="725860"/>
                  <a:pt x="10834133" y="714599"/>
                  <a:pt x="10860878" y="714599"/>
                </a:cubicBezTo>
                <a:cubicBezTo>
                  <a:pt x="10881994" y="714599"/>
                  <a:pt x="10904514" y="721636"/>
                  <a:pt x="10915775" y="727267"/>
                </a:cubicBezTo>
                <a:lnTo>
                  <a:pt x="10915775" y="693485"/>
                </a:lnTo>
                <a:cubicBezTo>
                  <a:pt x="10904514" y="689261"/>
                  <a:pt x="10883400" y="683631"/>
                  <a:pt x="10859471" y="683631"/>
                </a:cubicBezTo>
                <a:close/>
                <a:moveTo>
                  <a:pt x="10276712" y="683631"/>
                </a:moveTo>
                <a:cubicBezTo>
                  <a:pt x="10247152" y="683631"/>
                  <a:pt x="10224630" y="696301"/>
                  <a:pt x="10211962" y="704746"/>
                </a:cubicBezTo>
                <a:lnTo>
                  <a:pt x="10211962" y="686446"/>
                </a:lnTo>
                <a:lnTo>
                  <a:pt x="10172548" y="686446"/>
                </a:lnTo>
                <a:lnTo>
                  <a:pt x="10172548" y="913075"/>
                </a:lnTo>
                <a:lnTo>
                  <a:pt x="10211962" y="913075"/>
                </a:lnTo>
                <a:lnTo>
                  <a:pt x="10211962" y="731491"/>
                </a:lnTo>
                <a:cubicBezTo>
                  <a:pt x="10223221" y="723045"/>
                  <a:pt x="10240113" y="714599"/>
                  <a:pt x="10257005" y="714599"/>
                </a:cubicBezTo>
                <a:cubicBezTo>
                  <a:pt x="10285158" y="714599"/>
                  <a:pt x="10300641" y="730082"/>
                  <a:pt x="10300641" y="766681"/>
                </a:cubicBezTo>
                <a:lnTo>
                  <a:pt x="10300641" y="911666"/>
                </a:lnTo>
                <a:lnTo>
                  <a:pt x="10340055" y="911666"/>
                </a:lnTo>
                <a:lnTo>
                  <a:pt x="10340055" y="758235"/>
                </a:lnTo>
                <a:cubicBezTo>
                  <a:pt x="10340055" y="745567"/>
                  <a:pt x="10337240" y="734306"/>
                  <a:pt x="10335833" y="728676"/>
                </a:cubicBezTo>
                <a:cubicBezTo>
                  <a:pt x="10347094" y="723045"/>
                  <a:pt x="10365393" y="714599"/>
                  <a:pt x="10383692" y="714599"/>
                </a:cubicBezTo>
                <a:cubicBezTo>
                  <a:pt x="10421697" y="714599"/>
                  <a:pt x="10430143" y="735713"/>
                  <a:pt x="10430143" y="768090"/>
                </a:cubicBezTo>
                <a:lnTo>
                  <a:pt x="10430143" y="913075"/>
                </a:lnTo>
                <a:lnTo>
                  <a:pt x="10469557" y="913075"/>
                </a:lnTo>
                <a:lnTo>
                  <a:pt x="10469557" y="763866"/>
                </a:lnTo>
                <a:cubicBezTo>
                  <a:pt x="10469557" y="717414"/>
                  <a:pt x="10449850" y="683631"/>
                  <a:pt x="10397768" y="683631"/>
                </a:cubicBezTo>
                <a:cubicBezTo>
                  <a:pt x="10369615" y="683631"/>
                  <a:pt x="10345686" y="693485"/>
                  <a:pt x="10327387" y="707560"/>
                </a:cubicBezTo>
                <a:cubicBezTo>
                  <a:pt x="10316126" y="693485"/>
                  <a:pt x="10297826" y="683631"/>
                  <a:pt x="10276712" y="683631"/>
                </a:cubicBezTo>
                <a:close/>
                <a:moveTo>
                  <a:pt x="9850201" y="683631"/>
                </a:moveTo>
                <a:cubicBezTo>
                  <a:pt x="9803750" y="683631"/>
                  <a:pt x="9771375" y="703338"/>
                  <a:pt x="9771375" y="746974"/>
                </a:cubicBezTo>
                <a:cubicBezTo>
                  <a:pt x="9771375" y="782166"/>
                  <a:pt x="9795304" y="800465"/>
                  <a:pt x="9833309" y="813133"/>
                </a:cubicBezTo>
                <a:cubicBezTo>
                  <a:pt x="9864278" y="824394"/>
                  <a:pt x="9879761" y="830024"/>
                  <a:pt x="9879761" y="851138"/>
                </a:cubicBezTo>
                <a:cubicBezTo>
                  <a:pt x="9879761" y="875069"/>
                  <a:pt x="9862869" y="884922"/>
                  <a:pt x="9831901" y="884922"/>
                </a:cubicBezTo>
                <a:cubicBezTo>
                  <a:pt x="9810787" y="884922"/>
                  <a:pt x="9784042" y="877884"/>
                  <a:pt x="9769966" y="870845"/>
                </a:cubicBezTo>
                <a:lnTo>
                  <a:pt x="9769966" y="903222"/>
                </a:lnTo>
                <a:cubicBezTo>
                  <a:pt x="9786858" y="911666"/>
                  <a:pt x="9813602" y="915890"/>
                  <a:pt x="9837531" y="915890"/>
                </a:cubicBezTo>
                <a:cubicBezTo>
                  <a:pt x="9885391" y="915890"/>
                  <a:pt x="9917766" y="890552"/>
                  <a:pt x="9917766" y="848323"/>
                </a:cubicBezTo>
                <a:cubicBezTo>
                  <a:pt x="9917766" y="803280"/>
                  <a:pt x="9881169" y="789203"/>
                  <a:pt x="9850201" y="779349"/>
                </a:cubicBezTo>
                <a:cubicBezTo>
                  <a:pt x="9823455" y="769496"/>
                  <a:pt x="9810787" y="762459"/>
                  <a:pt x="9810787" y="744159"/>
                </a:cubicBezTo>
                <a:cubicBezTo>
                  <a:pt x="9810787" y="725860"/>
                  <a:pt x="9824863" y="714599"/>
                  <a:pt x="9851608" y="714599"/>
                </a:cubicBezTo>
                <a:cubicBezTo>
                  <a:pt x="9872723" y="714599"/>
                  <a:pt x="9895244" y="721636"/>
                  <a:pt x="9906505" y="727267"/>
                </a:cubicBezTo>
                <a:lnTo>
                  <a:pt x="9906505" y="693485"/>
                </a:lnTo>
                <a:cubicBezTo>
                  <a:pt x="9895244" y="689261"/>
                  <a:pt x="9874130" y="683631"/>
                  <a:pt x="9850201" y="683631"/>
                </a:cubicBezTo>
                <a:close/>
                <a:moveTo>
                  <a:pt x="11063577" y="682224"/>
                </a:moveTo>
                <a:cubicBezTo>
                  <a:pt x="10998826" y="682224"/>
                  <a:pt x="10962227" y="731491"/>
                  <a:pt x="10962227" y="799056"/>
                </a:cubicBezTo>
                <a:cubicBezTo>
                  <a:pt x="10962227" y="868030"/>
                  <a:pt x="10997419" y="915890"/>
                  <a:pt x="11072023" y="915890"/>
                </a:cubicBezTo>
                <a:cubicBezTo>
                  <a:pt x="11097359" y="915890"/>
                  <a:pt x="11124105" y="908853"/>
                  <a:pt x="11136773" y="903222"/>
                </a:cubicBezTo>
                <a:lnTo>
                  <a:pt x="11136773" y="870845"/>
                </a:lnTo>
                <a:cubicBezTo>
                  <a:pt x="11121290" y="879291"/>
                  <a:pt x="11100174" y="884922"/>
                  <a:pt x="11073430" y="884922"/>
                </a:cubicBezTo>
                <a:cubicBezTo>
                  <a:pt x="11022755" y="884922"/>
                  <a:pt x="11003049" y="851138"/>
                  <a:pt x="11003049" y="800465"/>
                </a:cubicBezTo>
                <a:lnTo>
                  <a:pt x="11150850" y="800465"/>
                </a:lnTo>
                <a:cubicBezTo>
                  <a:pt x="11150850" y="794834"/>
                  <a:pt x="11150850" y="789203"/>
                  <a:pt x="11150850" y="782166"/>
                </a:cubicBezTo>
                <a:cubicBezTo>
                  <a:pt x="11150850" y="732898"/>
                  <a:pt x="11128327" y="682224"/>
                  <a:pt x="11063577" y="682224"/>
                </a:cubicBezTo>
                <a:close/>
                <a:moveTo>
                  <a:pt x="10625803" y="682224"/>
                </a:moveTo>
                <a:cubicBezTo>
                  <a:pt x="10600467" y="682224"/>
                  <a:pt x="10582167" y="693485"/>
                  <a:pt x="10569499" y="708968"/>
                </a:cubicBezTo>
                <a:lnTo>
                  <a:pt x="10569499" y="685039"/>
                </a:lnTo>
                <a:lnTo>
                  <a:pt x="10530085" y="685039"/>
                </a:lnTo>
                <a:lnTo>
                  <a:pt x="10530085" y="911666"/>
                </a:lnTo>
                <a:lnTo>
                  <a:pt x="10569499" y="911666"/>
                </a:lnTo>
                <a:lnTo>
                  <a:pt x="10569499" y="738528"/>
                </a:lnTo>
                <a:cubicBezTo>
                  <a:pt x="10582167" y="728676"/>
                  <a:pt x="10596244" y="718823"/>
                  <a:pt x="10621581" y="718823"/>
                </a:cubicBezTo>
                <a:cubicBezTo>
                  <a:pt x="10631434" y="718823"/>
                  <a:pt x="10639880" y="720230"/>
                  <a:pt x="10645510" y="721636"/>
                </a:cubicBezTo>
                <a:lnTo>
                  <a:pt x="10645510" y="685039"/>
                </a:lnTo>
                <a:cubicBezTo>
                  <a:pt x="10639880" y="683631"/>
                  <a:pt x="10631434" y="682224"/>
                  <a:pt x="10625803" y="682224"/>
                </a:cubicBezTo>
                <a:close/>
                <a:moveTo>
                  <a:pt x="11461934" y="609028"/>
                </a:moveTo>
                <a:cubicBezTo>
                  <a:pt x="11468973" y="609028"/>
                  <a:pt x="11474603" y="613250"/>
                  <a:pt x="11474603" y="618881"/>
                </a:cubicBezTo>
                <a:cubicBezTo>
                  <a:pt x="11474603" y="624511"/>
                  <a:pt x="11468973" y="628735"/>
                  <a:pt x="11461934" y="628735"/>
                </a:cubicBezTo>
                <a:cubicBezTo>
                  <a:pt x="11454896" y="628735"/>
                  <a:pt x="11449266" y="624511"/>
                  <a:pt x="11449266" y="618881"/>
                </a:cubicBezTo>
                <a:cubicBezTo>
                  <a:pt x="11449266" y="613250"/>
                  <a:pt x="11454896" y="609028"/>
                  <a:pt x="11461934" y="609028"/>
                </a:cubicBezTo>
                <a:close/>
                <a:moveTo>
                  <a:pt x="10706038" y="593543"/>
                </a:moveTo>
                <a:cubicBezTo>
                  <a:pt x="10690555" y="593543"/>
                  <a:pt x="10679294" y="604804"/>
                  <a:pt x="10679294" y="618881"/>
                </a:cubicBezTo>
                <a:cubicBezTo>
                  <a:pt x="10679294" y="632957"/>
                  <a:pt x="10690555" y="644217"/>
                  <a:pt x="10706038" y="644217"/>
                </a:cubicBezTo>
                <a:cubicBezTo>
                  <a:pt x="10720115" y="644217"/>
                  <a:pt x="10732785" y="632957"/>
                  <a:pt x="10732785" y="618881"/>
                </a:cubicBezTo>
                <a:cubicBezTo>
                  <a:pt x="10732785" y="604804"/>
                  <a:pt x="10720115" y="593543"/>
                  <a:pt x="10706038" y="593543"/>
                </a:cubicBezTo>
                <a:close/>
                <a:moveTo>
                  <a:pt x="11508387" y="530201"/>
                </a:moveTo>
                <a:cubicBezTo>
                  <a:pt x="11574544" y="530201"/>
                  <a:pt x="11633665" y="559761"/>
                  <a:pt x="11674486" y="606213"/>
                </a:cubicBezTo>
                <a:cubicBezTo>
                  <a:pt x="11699823" y="638588"/>
                  <a:pt x="11695601" y="665332"/>
                  <a:pt x="11678709" y="679409"/>
                </a:cubicBezTo>
                <a:cubicBezTo>
                  <a:pt x="11657596" y="694894"/>
                  <a:pt x="11629443" y="689263"/>
                  <a:pt x="11625219" y="676593"/>
                </a:cubicBezTo>
                <a:cubicBezTo>
                  <a:pt x="11623812" y="669556"/>
                  <a:pt x="11629443" y="666741"/>
                  <a:pt x="11629443" y="666741"/>
                </a:cubicBezTo>
                <a:cubicBezTo>
                  <a:pt x="11630849" y="665332"/>
                  <a:pt x="11633665" y="665332"/>
                  <a:pt x="11636480" y="665332"/>
                </a:cubicBezTo>
                <a:cubicBezTo>
                  <a:pt x="11640704" y="665332"/>
                  <a:pt x="11640704" y="662517"/>
                  <a:pt x="11637888" y="661110"/>
                </a:cubicBezTo>
                <a:cubicBezTo>
                  <a:pt x="11633665" y="658295"/>
                  <a:pt x="11626627" y="655479"/>
                  <a:pt x="11620997" y="655479"/>
                </a:cubicBezTo>
                <a:cubicBezTo>
                  <a:pt x="11612551" y="655479"/>
                  <a:pt x="11599881" y="656888"/>
                  <a:pt x="11599881" y="656888"/>
                </a:cubicBezTo>
                <a:cubicBezTo>
                  <a:pt x="11597066" y="656888"/>
                  <a:pt x="11594252" y="655479"/>
                  <a:pt x="11591435" y="654071"/>
                </a:cubicBezTo>
                <a:cubicBezTo>
                  <a:pt x="11590028" y="652664"/>
                  <a:pt x="11588620" y="651256"/>
                  <a:pt x="11588620" y="649849"/>
                </a:cubicBezTo>
                <a:cubicBezTo>
                  <a:pt x="11587213" y="642812"/>
                  <a:pt x="11591435" y="641403"/>
                  <a:pt x="11591435" y="641403"/>
                </a:cubicBezTo>
                <a:cubicBezTo>
                  <a:pt x="11592844" y="639996"/>
                  <a:pt x="11597066" y="638588"/>
                  <a:pt x="11599881" y="639996"/>
                </a:cubicBezTo>
                <a:cubicBezTo>
                  <a:pt x="11604105" y="639996"/>
                  <a:pt x="11604105" y="637181"/>
                  <a:pt x="11601290" y="635772"/>
                </a:cubicBezTo>
                <a:cubicBezTo>
                  <a:pt x="11597066" y="632957"/>
                  <a:pt x="11590028" y="630142"/>
                  <a:pt x="11584398" y="630142"/>
                </a:cubicBezTo>
                <a:cubicBezTo>
                  <a:pt x="11575952" y="630142"/>
                  <a:pt x="11563284" y="631550"/>
                  <a:pt x="11563284" y="631550"/>
                </a:cubicBezTo>
                <a:cubicBezTo>
                  <a:pt x="11560469" y="631550"/>
                  <a:pt x="11557654" y="630142"/>
                  <a:pt x="11554838" y="628735"/>
                </a:cubicBezTo>
                <a:cubicBezTo>
                  <a:pt x="11553430" y="627327"/>
                  <a:pt x="11552023" y="625920"/>
                  <a:pt x="11552023" y="624511"/>
                </a:cubicBezTo>
                <a:cubicBezTo>
                  <a:pt x="11550614" y="617474"/>
                  <a:pt x="11554838" y="614659"/>
                  <a:pt x="11554838" y="614659"/>
                </a:cubicBezTo>
                <a:cubicBezTo>
                  <a:pt x="11556245" y="613250"/>
                  <a:pt x="11559060" y="611843"/>
                  <a:pt x="11563284" y="613250"/>
                </a:cubicBezTo>
                <a:cubicBezTo>
                  <a:pt x="11567506" y="613250"/>
                  <a:pt x="11567506" y="610435"/>
                  <a:pt x="11564691" y="609028"/>
                </a:cubicBezTo>
                <a:cubicBezTo>
                  <a:pt x="11560469" y="606213"/>
                  <a:pt x="11553430" y="603397"/>
                  <a:pt x="11547799" y="603397"/>
                </a:cubicBezTo>
                <a:cubicBezTo>
                  <a:pt x="11539353" y="603397"/>
                  <a:pt x="11526685" y="604804"/>
                  <a:pt x="11526685" y="604804"/>
                </a:cubicBezTo>
                <a:cubicBezTo>
                  <a:pt x="11525277" y="604804"/>
                  <a:pt x="11522463" y="604804"/>
                  <a:pt x="11522463" y="603397"/>
                </a:cubicBezTo>
                <a:cubicBezTo>
                  <a:pt x="11521055" y="601989"/>
                  <a:pt x="11521055" y="601989"/>
                  <a:pt x="11521055" y="600582"/>
                </a:cubicBezTo>
                <a:cubicBezTo>
                  <a:pt x="11521055" y="599174"/>
                  <a:pt x="11521055" y="596358"/>
                  <a:pt x="11522463" y="593545"/>
                </a:cubicBezTo>
                <a:cubicBezTo>
                  <a:pt x="11523870" y="587912"/>
                  <a:pt x="11525277" y="582282"/>
                  <a:pt x="11523870" y="573836"/>
                </a:cubicBezTo>
                <a:cubicBezTo>
                  <a:pt x="11522463" y="558353"/>
                  <a:pt x="11514017" y="552722"/>
                  <a:pt x="11511200" y="551315"/>
                </a:cubicBezTo>
                <a:cubicBezTo>
                  <a:pt x="11508387" y="549907"/>
                  <a:pt x="11506978" y="549907"/>
                  <a:pt x="11506978" y="549907"/>
                </a:cubicBezTo>
                <a:cubicBezTo>
                  <a:pt x="11506978" y="549907"/>
                  <a:pt x="11505571" y="552722"/>
                  <a:pt x="11505571" y="555537"/>
                </a:cubicBezTo>
                <a:cubicBezTo>
                  <a:pt x="11504163" y="566799"/>
                  <a:pt x="11502756" y="589321"/>
                  <a:pt x="11480234" y="589321"/>
                </a:cubicBezTo>
                <a:cubicBezTo>
                  <a:pt x="11477418" y="589321"/>
                  <a:pt x="11474603" y="589321"/>
                  <a:pt x="11471788" y="589321"/>
                </a:cubicBezTo>
                <a:cubicBezTo>
                  <a:pt x="11470379" y="589321"/>
                  <a:pt x="11467564" y="589321"/>
                  <a:pt x="11466157" y="589321"/>
                </a:cubicBezTo>
                <a:cubicBezTo>
                  <a:pt x="11464749" y="589321"/>
                  <a:pt x="11464749" y="589321"/>
                  <a:pt x="11463342" y="589321"/>
                </a:cubicBezTo>
                <a:cubicBezTo>
                  <a:pt x="11461934" y="589321"/>
                  <a:pt x="11459120" y="589321"/>
                  <a:pt x="11457711" y="589321"/>
                </a:cubicBezTo>
                <a:cubicBezTo>
                  <a:pt x="11454896" y="589321"/>
                  <a:pt x="11452081" y="589321"/>
                  <a:pt x="11449266" y="590728"/>
                </a:cubicBezTo>
                <a:cubicBezTo>
                  <a:pt x="11438004" y="593545"/>
                  <a:pt x="11430967" y="600582"/>
                  <a:pt x="11429558" y="610435"/>
                </a:cubicBezTo>
                <a:cubicBezTo>
                  <a:pt x="11429558" y="611843"/>
                  <a:pt x="11429558" y="611843"/>
                  <a:pt x="11429558" y="613250"/>
                </a:cubicBezTo>
                <a:cubicBezTo>
                  <a:pt x="11429558" y="614659"/>
                  <a:pt x="11429558" y="617474"/>
                  <a:pt x="11426743" y="617474"/>
                </a:cubicBezTo>
                <a:cubicBezTo>
                  <a:pt x="11426743" y="617474"/>
                  <a:pt x="11422521" y="618881"/>
                  <a:pt x="11415482" y="618881"/>
                </a:cubicBezTo>
                <a:cubicBezTo>
                  <a:pt x="11390146" y="621696"/>
                  <a:pt x="11380292" y="611843"/>
                  <a:pt x="11373254" y="607620"/>
                </a:cubicBezTo>
                <a:cubicBezTo>
                  <a:pt x="11371846" y="607620"/>
                  <a:pt x="11370439" y="606213"/>
                  <a:pt x="11370439" y="606213"/>
                </a:cubicBezTo>
                <a:cubicBezTo>
                  <a:pt x="11370439" y="606213"/>
                  <a:pt x="11370439" y="606213"/>
                  <a:pt x="11369031" y="607620"/>
                </a:cubicBezTo>
                <a:cubicBezTo>
                  <a:pt x="11364808" y="611843"/>
                  <a:pt x="11357769" y="624511"/>
                  <a:pt x="11357769" y="637181"/>
                </a:cubicBezTo>
                <a:cubicBezTo>
                  <a:pt x="11359178" y="658295"/>
                  <a:pt x="11373254" y="670963"/>
                  <a:pt x="11377476" y="673778"/>
                </a:cubicBezTo>
                <a:cubicBezTo>
                  <a:pt x="11381700" y="676593"/>
                  <a:pt x="11384514" y="678002"/>
                  <a:pt x="11384514" y="678002"/>
                </a:cubicBezTo>
                <a:cubicBezTo>
                  <a:pt x="11384514" y="678002"/>
                  <a:pt x="11384514" y="676593"/>
                  <a:pt x="11384514" y="675187"/>
                </a:cubicBezTo>
                <a:cubicBezTo>
                  <a:pt x="11384514" y="672371"/>
                  <a:pt x="11384514" y="669556"/>
                  <a:pt x="11387331" y="665332"/>
                </a:cubicBezTo>
                <a:cubicBezTo>
                  <a:pt x="11392960" y="655479"/>
                  <a:pt x="11401406" y="659702"/>
                  <a:pt x="11405629" y="661110"/>
                </a:cubicBezTo>
                <a:cubicBezTo>
                  <a:pt x="11407036" y="661110"/>
                  <a:pt x="11407036" y="661110"/>
                  <a:pt x="11407036" y="662517"/>
                </a:cubicBezTo>
                <a:cubicBezTo>
                  <a:pt x="11411260" y="663925"/>
                  <a:pt x="11415482" y="666741"/>
                  <a:pt x="11419706" y="666741"/>
                </a:cubicBezTo>
                <a:cubicBezTo>
                  <a:pt x="11423928" y="666741"/>
                  <a:pt x="11429558" y="663925"/>
                  <a:pt x="11432374" y="662517"/>
                </a:cubicBezTo>
                <a:cubicBezTo>
                  <a:pt x="11439413" y="659702"/>
                  <a:pt x="11446450" y="658295"/>
                  <a:pt x="11450674" y="662517"/>
                </a:cubicBezTo>
                <a:cubicBezTo>
                  <a:pt x="11454896" y="666741"/>
                  <a:pt x="11453489" y="676593"/>
                  <a:pt x="11453489" y="678002"/>
                </a:cubicBezTo>
                <a:lnTo>
                  <a:pt x="11453489" y="679409"/>
                </a:lnTo>
                <a:lnTo>
                  <a:pt x="11452081" y="679409"/>
                </a:lnTo>
                <a:cubicBezTo>
                  <a:pt x="11436598" y="673778"/>
                  <a:pt x="11430967" y="675187"/>
                  <a:pt x="11418297" y="676593"/>
                </a:cubicBezTo>
                <a:cubicBezTo>
                  <a:pt x="11411260" y="678002"/>
                  <a:pt x="11404221" y="682224"/>
                  <a:pt x="11398590" y="685039"/>
                </a:cubicBezTo>
                <a:cubicBezTo>
                  <a:pt x="11385922" y="692078"/>
                  <a:pt x="11380292" y="697709"/>
                  <a:pt x="11364808" y="692078"/>
                </a:cubicBezTo>
                <a:cubicBezTo>
                  <a:pt x="11350732" y="686448"/>
                  <a:pt x="11346508" y="678002"/>
                  <a:pt x="11343693" y="672371"/>
                </a:cubicBezTo>
                <a:cubicBezTo>
                  <a:pt x="11342286" y="670963"/>
                  <a:pt x="11342286" y="669556"/>
                  <a:pt x="11342286" y="669556"/>
                </a:cubicBezTo>
                <a:cubicBezTo>
                  <a:pt x="11342286" y="669556"/>
                  <a:pt x="11340878" y="670963"/>
                  <a:pt x="11340878" y="673778"/>
                </a:cubicBezTo>
                <a:cubicBezTo>
                  <a:pt x="11338062" y="680817"/>
                  <a:pt x="11338062" y="694894"/>
                  <a:pt x="11349323" y="707561"/>
                </a:cubicBezTo>
                <a:cubicBezTo>
                  <a:pt x="11364808" y="725860"/>
                  <a:pt x="11380292" y="718823"/>
                  <a:pt x="11390146" y="713192"/>
                </a:cubicBezTo>
                <a:lnTo>
                  <a:pt x="11391553" y="711785"/>
                </a:lnTo>
                <a:lnTo>
                  <a:pt x="11391553" y="713192"/>
                </a:lnTo>
                <a:cubicBezTo>
                  <a:pt x="11391553" y="716007"/>
                  <a:pt x="11392960" y="721638"/>
                  <a:pt x="11395775" y="727269"/>
                </a:cubicBezTo>
                <a:cubicBezTo>
                  <a:pt x="11398590" y="732899"/>
                  <a:pt x="11405629" y="739937"/>
                  <a:pt x="11414075" y="739937"/>
                </a:cubicBezTo>
                <a:cubicBezTo>
                  <a:pt x="11419706" y="739937"/>
                  <a:pt x="11428152" y="735715"/>
                  <a:pt x="11436598" y="730084"/>
                </a:cubicBezTo>
                <a:cubicBezTo>
                  <a:pt x="11452081" y="721638"/>
                  <a:pt x="11464749" y="710377"/>
                  <a:pt x="11484456" y="713192"/>
                </a:cubicBezTo>
                <a:cubicBezTo>
                  <a:pt x="11515424" y="718823"/>
                  <a:pt x="11540762" y="765274"/>
                  <a:pt x="11552023" y="786388"/>
                </a:cubicBezTo>
                <a:cubicBezTo>
                  <a:pt x="11554838" y="790612"/>
                  <a:pt x="11556245" y="794834"/>
                  <a:pt x="11557654" y="796242"/>
                </a:cubicBezTo>
                <a:cubicBezTo>
                  <a:pt x="11557654" y="796242"/>
                  <a:pt x="11557654" y="796242"/>
                  <a:pt x="11557654" y="797649"/>
                </a:cubicBezTo>
                <a:cubicBezTo>
                  <a:pt x="11559060" y="799058"/>
                  <a:pt x="11561876" y="803280"/>
                  <a:pt x="11563284" y="801873"/>
                </a:cubicBezTo>
                <a:cubicBezTo>
                  <a:pt x="11566099" y="800464"/>
                  <a:pt x="11566099" y="797649"/>
                  <a:pt x="11566099" y="797649"/>
                </a:cubicBezTo>
                <a:cubicBezTo>
                  <a:pt x="11568915" y="772313"/>
                  <a:pt x="11585806" y="762459"/>
                  <a:pt x="11595659" y="758237"/>
                </a:cubicBezTo>
                <a:cubicBezTo>
                  <a:pt x="11605512" y="754013"/>
                  <a:pt x="11615366" y="754013"/>
                  <a:pt x="11622404" y="754013"/>
                </a:cubicBezTo>
                <a:cubicBezTo>
                  <a:pt x="11623812" y="754013"/>
                  <a:pt x="11623812" y="754013"/>
                  <a:pt x="11625219" y="754013"/>
                </a:cubicBezTo>
                <a:cubicBezTo>
                  <a:pt x="11630849" y="754013"/>
                  <a:pt x="11639295" y="749791"/>
                  <a:pt x="11650556" y="744160"/>
                </a:cubicBezTo>
                <a:cubicBezTo>
                  <a:pt x="11667448" y="735715"/>
                  <a:pt x="11689971" y="724453"/>
                  <a:pt x="11718122" y="718823"/>
                </a:cubicBezTo>
                <a:cubicBezTo>
                  <a:pt x="11725161" y="717414"/>
                  <a:pt x="11727976" y="718823"/>
                  <a:pt x="11727976" y="721638"/>
                </a:cubicBezTo>
                <a:cubicBezTo>
                  <a:pt x="11727976" y="723045"/>
                  <a:pt x="11727976" y="727269"/>
                  <a:pt x="11725161" y="728675"/>
                </a:cubicBezTo>
                <a:lnTo>
                  <a:pt x="11720939" y="730084"/>
                </a:lnTo>
                <a:cubicBezTo>
                  <a:pt x="11692786" y="742752"/>
                  <a:pt x="11649150" y="758237"/>
                  <a:pt x="11639295" y="789205"/>
                </a:cubicBezTo>
                <a:cubicBezTo>
                  <a:pt x="11636480" y="794834"/>
                  <a:pt x="11636480" y="801873"/>
                  <a:pt x="11636480" y="810319"/>
                </a:cubicBezTo>
                <a:cubicBezTo>
                  <a:pt x="11636480" y="813134"/>
                  <a:pt x="11636480" y="815949"/>
                  <a:pt x="11636480" y="820172"/>
                </a:cubicBezTo>
                <a:cubicBezTo>
                  <a:pt x="11636480" y="855362"/>
                  <a:pt x="11619588" y="876477"/>
                  <a:pt x="11609736" y="886330"/>
                </a:cubicBezTo>
                <a:cubicBezTo>
                  <a:pt x="11599881" y="896185"/>
                  <a:pt x="11590028" y="904629"/>
                  <a:pt x="11582989" y="908852"/>
                </a:cubicBezTo>
                <a:cubicBezTo>
                  <a:pt x="11580176" y="911668"/>
                  <a:pt x="11577361" y="913074"/>
                  <a:pt x="11577361" y="914483"/>
                </a:cubicBezTo>
                <a:cubicBezTo>
                  <a:pt x="11577361" y="914483"/>
                  <a:pt x="11574544" y="917298"/>
                  <a:pt x="11571730" y="921520"/>
                </a:cubicBezTo>
                <a:cubicBezTo>
                  <a:pt x="11564691" y="929966"/>
                  <a:pt x="11554838" y="942636"/>
                  <a:pt x="11544984" y="951082"/>
                </a:cubicBezTo>
                <a:cubicBezTo>
                  <a:pt x="11535131" y="960934"/>
                  <a:pt x="11522463" y="969380"/>
                  <a:pt x="11518239" y="969380"/>
                </a:cubicBezTo>
                <a:cubicBezTo>
                  <a:pt x="11516833" y="969380"/>
                  <a:pt x="11516833" y="969380"/>
                  <a:pt x="11516833" y="969380"/>
                </a:cubicBezTo>
                <a:cubicBezTo>
                  <a:pt x="11516833" y="969380"/>
                  <a:pt x="11515424" y="967974"/>
                  <a:pt x="11515424" y="967974"/>
                </a:cubicBezTo>
                <a:cubicBezTo>
                  <a:pt x="11515424" y="965158"/>
                  <a:pt x="11521055" y="958119"/>
                  <a:pt x="11529501" y="946858"/>
                </a:cubicBezTo>
                <a:cubicBezTo>
                  <a:pt x="11539353" y="935597"/>
                  <a:pt x="11543577" y="928560"/>
                  <a:pt x="11543577" y="927151"/>
                </a:cubicBezTo>
                <a:cubicBezTo>
                  <a:pt x="11542168" y="927151"/>
                  <a:pt x="11536538" y="929966"/>
                  <a:pt x="11529501" y="932782"/>
                </a:cubicBezTo>
                <a:cubicBezTo>
                  <a:pt x="11525277" y="934190"/>
                  <a:pt x="11521055" y="937005"/>
                  <a:pt x="11515424" y="939821"/>
                </a:cubicBezTo>
                <a:cubicBezTo>
                  <a:pt x="11495717" y="949673"/>
                  <a:pt x="11453489" y="963750"/>
                  <a:pt x="11447857" y="958119"/>
                </a:cubicBezTo>
                <a:cubicBezTo>
                  <a:pt x="11446450" y="956712"/>
                  <a:pt x="11446450" y="956712"/>
                  <a:pt x="11447857" y="955304"/>
                </a:cubicBezTo>
                <a:cubicBezTo>
                  <a:pt x="11447857" y="952489"/>
                  <a:pt x="11454896" y="949673"/>
                  <a:pt x="11467564" y="942636"/>
                </a:cubicBezTo>
                <a:cubicBezTo>
                  <a:pt x="11488680" y="932782"/>
                  <a:pt x="11521055" y="915892"/>
                  <a:pt x="11528092" y="893369"/>
                </a:cubicBezTo>
                <a:cubicBezTo>
                  <a:pt x="11523870" y="893369"/>
                  <a:pt x="11509794" y="893369"/>
                  <a:pt x="11491495" y="866623"/>
                </a:cubicBezTo>
                <a:cubicBezTo>
                  <a:pt x="11468973" y="832841"/>
                  <a:pt x="11456303" y="801873"/>
                  <a:pt x="11430967" y="801873"/>
                </a:cubicBezTo>
                <a:cubicBezTo>
                  <a:pt x="11401406" y="801873"/>
                  <a:pt x="11339471" y="842694"/>
                  <a:pt x="11316948" y="856770"/>
                </a:cubicBezTo>
                <a:cubicBezTo>
                  <a:pt x="11298650" y="824395"/>
                  <a:pt x="11288796" y="789205"/>
                  <a:pt x="11288796" y="749791"/>
                </a:cubicBezTo>
                <a:cubicBezTo>
                  <a:pt x="11288796" y="628735"/>
                  <a:pt x="11387331" y="530201"/>
                  <a:pt x="11508387" y="530201"/>
                </a:cubicBezTo>
                <a:close/>
                <a:moveTo>
                  <a:pt x="11509794" y="511901"/>
                </a:moveTo>
                <a:cubicBezTo>
                  <a:pt x="11377476" y="511901"/>
                  <a:pt x="11270497" y="618881"/>
                  <a:pt x="11270497" y="751198"/>
                </a:cubicBezTo>
                <a:cubicBezTo>
                  <a:pt x="11270497" y="883515"/>
                  <a:pt x="11377476" y="990494"/>
                  <a:pt x="11509794" y="990494"/>
                </a:cubicBezTo>
                <a:cubicBezTo>
                  <a:pt x="11642111" y="990494"/>
                  <a:pt x="11749090" y="883515"/>
                  <a:pt x="11749090" y="751198"/>
                </a:cubicBezTo>
                <a:cubicBezTo>
                  <a:pt x="11749090" y="618881"/>
                  <a:pt x="11642111" y="511901"/>
                  <a:pt x="11509794" y="511901"/>
                </a:cubicBezTo>
                <a:close/>
                <a:moveTo>
                  <a:pt x="0" y="0"/>
                </a:moveTo>
                <a:lnTo>
                  <a:pt x="12193588" y="0"/>
                </a:lnTo>
                <a:lnTo>
                  <a:pt x="1219358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10D2ED-3F5B-4C81-8C9A-814ECAE3AC0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41844" y="1906331"/>
            <a:ext cx="6858000" cy="461665"/>
          </a:xfrm>
        </p:spPr>
        <p:txBody>
          <a:bodyPr vert="horz" anchor="b">
            <a:spAutoFit/>
          </a:bodyPr>
          <a:lstStyle>
            <a:lvl1pPr algn="l">
              <a:defRPr sz="30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936775A-0DE1-49FB-B66C-8ED26CC79C56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white">
          <a:xfrm>
            <a:off x="341844" y="2437052"/>
            <a:ext cx="6858000" cy="461665"/>
          </a:xfrm>
        </p:spPr>
        <p:txBody>
          <a:bodyPr>
            <a:spAutoFit/>
          </a:bodyPr>
          <a:lstStyle>
            <a:lvl1pPr marL="0" indent="0" algn="l">
              <a:spcBef>
                <a:spcPts val="900"/>
              </a:spcBef>
              <a:spcAft>
                <a:spcPts val="600"/>
              </a:spcAft>
              <a:buNone/>
              <a:defRPr sz="3000" b="0" i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225"/>
              </a:spcAft>
              <a:buNone/>
              <a:defRPr sz="1200" i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111482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840">
          <p15:clr>
            <a:srgbClr val="9FCC3B"/>
          </p15:clr>
        </p15:guide>
        <p15:guide id="2" orient="horz" pos="2160">
          <p15:clr>
            <a:srgbClr val="9FCC3B"/>
          </p15:clr>
        </p15:guide>
        <p15:guide id="3" pos="279">
          <p15:clr>
            <a:srgbClr val="9FCC3B"/>
          </p15:clr>
        </p15:guide>
        <p15:guide id="4" pos="7401">
          <p15:clr>
            <a:srgbClr val="9FCC3B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-size Picture | White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2D140C4-8EFB-415A-83E7-C2EC3BD7B7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465865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4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2D140C4-8EFB-415A-83E7-C2EC3BD7B7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8CBF7BF-9123-4DDD-8A35-D632192CD16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3500"/>
          </a:xfrm>
          <a:custGeom>
            <a:avLst/>
            <a:gdLst>
              <a:gd name="connsiteX0" fmla="*/ 11616773 w 12192000"/>
              <a:gd name="connsiteY0" fmla="*/ 766683 h 6858000"/>
              <a:gd name="connsiteX1" fmla="*/ 11606920 w 12192000"/>
              <a:gd name="connsiteY1" fmla="*/ 776535 h 6858000"/>
              <a:gd name="connsiteX2" fmla="*/ 11616773 w 12192000"/>
              <a:gd name="connsiteY2" fmla="*/ 786388 h 6858000"/>
              <a:gd name="connsiteX3" fmla="*/ 11626627 w 12192000"/>
              <a:gd name="connsiteY3" fmla="*/ 776535 h 6858000"/>
              <a:gd name="connsiteX4" fmla="*/ 11616773 w 12192000"/>
              <a:gd name="connsiteY4" fmla="*/ 766683 h 6858000"/>
              <a:gd name="connsiteX5" fmla="*/ 11435366 w 12192000"/>
              <a:gd name="connsiteY5" fmla="*/ 690142 h 6858000"/>
              <a:gd name="connsiteX6" fmla="*/ 11450674 w 12192000"/>
              <a:gd name="connsiteY6" fmla="*/ 692078 h 6858000"/>
              <a:gd name="connsiteX7" fmla="*/ 11452081 w 12192000"/>
              <a:gd name="connsiteY7" fmla="*/ 692078 h 6858000"/>
              <a:gd name="connsiteX8" fmla="*/ 11450674 w 12192000"/>
              <a:gd name="connsiteY8" fmla="*/ 693485 h 6858000"/>
              <a:gd name="connsiteX9" fmla="*/ 11430967 w 12192000"/>
              <a:gd name="connsiteY9" fmla="*/ 710377 h 6858000"/>
              <a:gd name="connsiteX10" fmla="*/ 11414075 w 12192000"/>
              <a:gd name="connsiteY10" fmla="*/ 714599 h 6858000"/>
              <a:gd name="connsiteX11" fmla="*/ 11399999 w 12192000"/>
              <a:gd name="connsiteY11" fmla="*/ 711785 h 6858000"/>
              <a:gd name="connsiteX12" fmla="*/ 11416891 w 12192000"/>
              <a:gd name="connsiteY12" fmla="*/ 697709 h 6858000"/>
              <a:gd name="connsiteX13" fmla="*/ 11435366 w 12192000"/>
              <a:gd name="connsiteY13" fmla="*/ 690142 h 6858000"/>
              <a:gd name="connsiteX14" fmla="*/ 11461934 w 12192000"/>
              <a:gd name="connsiteY14" fmla="*/ 609028 h 6858000"/>
              <a:gd name="connsiteX15" fmla="*/ 11474603 w 12192000"/>
              <a:gd name="connsiteY15" fmla="*/ 618881 h 6858000"/>
              <a:gd name="connsiteX16" fmla="*/ 11461934 w 12192000"/>
              <a:gd name="connsiteY16" fmla="*/ 628735 h 6858000"/>
              <a:gd name="connsiteX17" fmla="*/ 11449266 w 12192000"/>
              <a:gd name="connsiteY17" fmla="*/ 618881 h 6858000"/>
              <a:gd name="connsiteX18" fmla="*/ 11461934 w 12192000"/>
              <a:gd name="connsiteY18" fmla="*/ 609028 h 6858000"/>
              <a:gd name="connsiteX19" fmla="*/ 11508387 w 12192000"/>
              <a:gd name="connsiteY19" fmla="*/ 530201 h 6858000"/>
              <a:gd name="connsiteX20" fmla="*/ 11674486 w 12192000"/>
              <a:gd name="connsiteY20" fmla="*/ 606213 h 6858000"/>
              <a:gd name="connsiteX21" fmla="*/ 11678709 w 12192000"/>
              <a:gd name="connsiteY21" fmla="*/ 679408 h 6858000"/>
              <a:gd name="connsiteX22" fmla="*/ 11625219 w 12192000"/>
              <a:gd name="connsiteY22" fmla="*/ 676593 h 6858000"/>
              <a:gd name="connsiteX23" fmla="*/ 11629443 w 12192000"/>
              <a:gd name="connsiteY23" fmla="*/ 666741 h 6858000"/>
              <a:gd name="connsiteX24" fmla="*/ 11636480 w 12192000"/>
              <a:gd name="connsiteY24" fmla="*/ 665332 h 6858000"/>
              <a:gd name="connsiteX25" fmla="*/ 11637888 w 12192000"/>
              <a:gd name="connsiteY25" fmla="*/ 661110 h 6858000"/>
              <a:gd name="connsiteX26" fmla="*/ 11620997 w 12192000"/>
              <a:gd name="connsiteY26" fmla="*/ 655479 h 6858000"/>
              <a:gd name="connsiteX27" fmla="*/ 11599881 w 12192000"/>
              <a:gd name="connsiteY27" fmla="*/ 656888 h 6858000"/>
              <a:gd name="connsiteX28" fmla="*/ 11591435 w 12192000"/>
              <a:gd name="connsiteY28" fmla="*/ 654071 h 6858000"/>
              <a:gd name="connsiteX29" fmla="*/ 11588620 w 12192000"/>
              <a:gd name="connsiteY29" fmla="*/ 649849 h 6858000"/>
              <a:gd name="connsiteX30" fmla="*/ 11591435 w 12192000"/>
              <a:gd name="connsiteY30" fmla="*/ 641403 h 6858000"/>
              <a:gd name="connsiteX31" fmla="*/ 11599881 w 12192000"/>
              <a:gd name="connsiteY31" fmla="*/ 639996 h 6858000"/>
              <a:gd name="connsiteX32" fmla="*/ 11601290 w 12192000"/>
              <a:gd name="connsiteY32" fmla="*/ 635772 h 6858000"/>
              <a:gd name="connsiteX33" fmla="*/ 11584398 w 12192000"/>
              <a:gd name="connsiteY33" fmla="*/ 630142 h 6858000"/>
              <a:gd name="connsiteX34" fmla="*/ 11563284 w 12192000"/>
              <a:gd name="connsiteY34" fmla="*/ 631550 h 6858000"/>
              <a:gd name="connsiteX35" fmla="*/ 11554838 w 12192000"/>
              <a:gd name="connsiteY35" fmla="*/ 628735 h 6858000"/>
              <a:gd name="connsiteX36" fmla="*/ 11552023 w 12192000"/>
              <a:gd name="connsiteY36" fmla="*/ 624511 h 6858000"/>
              <a:gd name="connsiteX37" fmla="*/ 11554838 w 12192000"/>
              <a:gd name="connsiteY37" fmla="*/ 614659 h 6858000"/>
              <a:gd name="connsiteX38" fmla="*/ 11563284 w 12192000"/>
              <a:gd name="connsiteY38" fmla="*/ 613250 h 6858000"/>
              <a:gd name="connsiteX39" fmla="*/ 11564691 w 12192000"/>
              <a:gd name="connsiteY39" fmla="*/ 609028 h 6858000"/>
              <a:gd name="connsiteX40" fmla="*/ 11547799 w 12192000"/>
              <a:gd name="connsiteY40" fmla="*/ 603397 h 6858000"/>
              <a:gd name="connsiteX41" fmla="*/ 11526685 w 12192000"/>
              <a:gd name="connsiteY41" fmla="*/ 604804 h 6858000"/>
              <a:gd name="connsiteX42" fmla="*/ 11522463 w 12192000"/>
              <a:gd name="connsiteY42" fmla="*/ 603397 h 6858000"/>
              <a:gd name="connsiteX43" fmla="*/ 11521055 w 12192000"/>
              <a:gd name="connsiteY43" fmla="*/ 600582 h 6858000"/>
              <a:gd name="connsiteX44" fmla="*/ 11522463 w 12192000"/>
              <a:gd name="connsiteY44" fmla="*/ 593545 h 6858000"/>
              <a:gd name="connsiteX45" fmla="*/ 11523870 w 12192000"/>
              <a:gd name="connsiteY45" fmla="*/ 573836 h 6858000"/>
              <a:gd name="connsiteX46" fmla="*/ 11511200 w 12192000"/>
              <a:gd name="connsiteY46" fmla="*/ 551315 h 6858000"/>
              <a:gd name="connsiteX47" fmla="*/ 11506978 w 12192000"/>
              <a:gd name="connsiteY47" fmla="*/ 549907 h 6858000"/>
              <a:gd name="connsiteX48" fmla="*/ 11505571 w 12192000"/>
              <a:gd name="connsiteY48" fmla="*/ 555537 h 6858000"/>
              <a:gd name="connsiteX49" fmla="*/ 11480234 w 12192000"/>
              <a:gd name="connsiteY49" fmla="*/ 589321 h 6858000"/>
              <a:gd name="connsiteX50" fmla="*/ 11471788 w 12192000"/>
              <a:gd name="connsiteY50" fmla="*/ 589321 h 6858000"/>
              <a:gd name="connsiteX51" fmla="*/ 11466157 w 12192000"/>
              <a:gd name="connsiteY51" fmla="*/ 589321 h 6858000"/>
              <a:gd name="connsiteX52" fmla="*/ 11463342 w 12192000"/>
              <a:gd name="connsiteY52" fmla="*/ 589321 h 6858000"/>
              <a:gd name="connsiteX53" fmla="*/ 11457711 w 12192000"/>
              <a:gd name="connsiteY53" fmla="*/ 589321 h 6858000"/>
              <a:gd name="connsiteX54" fmla="*/ 11449266 w 12192000"/>
              <a:gd name="connsiteY54" fmla="*/ 590728 h 6858000"/>
              <a:gd name="connsiteX55" fmla="*/ 11429558 w 12192000"/>
              <a:gd name="connsiteY55" fmla="*/ 610435 h 6858000"/>
              <a:gd name="connsiteX56" fmla="*/ 11429558 w 12192000"/>
              <a:gd name="connsiteY56" fmla="*/ 613250 h 6858000"/>
              <a:gd name="connsiteX57" fmla="*/ 11426743 w 12192000"/>
              <a:gd name="connsiteY57" fmla="*/ 617474 h 6858000"/>
              <a:gd name="connsiteX58" fmla="*/ 11415482 w 12192000"/>
              <a:gd name="connsiteY58" fmla="*/ 618881 h 6858000"/>
              <a:gd name="connsiteX59" fmla="*/ 11373254 w 12192000"/>
              <a:gd name="connsiteY59" fmla="*/ 607619 h 6858000"/>
              <a:gd name="connsiteX60" fmla="*/ 11370439 w 12192000"/>
              <a:gd name="connsiteY60" fmla="*/ 606213 h 6858000"/>
              <a:gd name="connsiteX61" fmla="*/ 11369031 w 12192000"/>
              <a:gd name="connsiteY61" fmla="*/ 607619 h 6858000"/>
              <a:gd name="connsiteX62" fmla="*/ 11357769 w 12192000"/>
              <a:gd name="connsiteY62" fmla="*/ 637181 h 6858000"/>
              <a:gd name="connsiteX63" fmla="*/ 11377476 w 12192000"/>
              <a:gd name="connsiteY63" fmla="*/ 673778 h 6858000"/>
              <a:gd name="connsiteX64" fmla="*/ 11384514 w 12192000"/>
              <a:gd name="connsiteY64" fmla="*/ 678002 h 6858000"/>
              <a:gd name="connsiteX65" fmla="*/ 11384514 w 12192000"/>
              <a:gd name="connsiteY65" fmla="*/ 675186 h 6858000"/>
              <a:gd name="connsiteX66" fmla="*/ 11387331 w 12192000"/>
              <a:gd name="connsiteY66" fmla="*/ 665332 h 6858000"/>
              <a:gd name="connsiteX67" fmla="*/ 11405629 w 12192000"/>
              <a:gd name="connsiteY67" fmla="*/ 661110 h 6858000"/>
              <a:gd name="connsiteX68" fmla="*/ 11407036 w 12192000"/>
              <a:gd name="connsiteY68" fmla="*/ 662517 h 6858000"/>
              <a:gd name="connsiteX69" fmla="*/ 11419706 w 12192000"/>
              <a:gd name="connsiteY69" fmla="*/ 666741 h 6858000"/>
              <a:gd name="connsiteX70" fmla="*/ 11432374 w 12192000"/>
              <a:gd name="connsiteY70" fmla="*/ 662517 h 6858000"/>
              <a:gd name="connsiteX71" fmla="*/ 11450674 w 12192000"/>
              <a:gd name="connsiteY71" fmla="*/ 662517 h 6858000"/>
              <a:gd name="connsiteX72" fmla="*/ 11453489 w 12192000"/>
              <a:gd name="connsiteY72" fmla="*/ 678002 h 6858000"/>
              <a:gd name="connsiteX73" fmla="*/ 11453489 w 12192000"/>
              <a:gd name="connsiteY73" fmla="*/ 679408 h 6858000"/>
              <a:gd name="connsiteX74" fmla="*/ 11452081 w 12192000"/>
              <a:gd name="connsiteY74" fmla="*/ 679408 h 6858000"/>
              <a:gd name="connsiteX75" fmla="*/ 11418297 w 12192000"/>
              <a:gd name="connsiteY75" fmla="*/ 676593 h 6858000"/>
              <a:gd name="connsiteX76" fmla="*/ 11398590 w 12192000"/>
              <a:gd name="connsiteY76" fmla="*/ 685039 h 6858000"/>
              <a:gd name="connsiteX77" fmla="*/ 11364808 w 12192000"/>
              <a:gd name="connsiteY77" fmla="*/ 692078 h 6858000"/>
              <a:gd name="connsiteX78" fmla="*/ 11343693 w 12192000"/>
              <a:gd name="connsiteY78" fmla="*/ 672371 h 6858000"/>
              <a:gd name="connsiteX79" fmla="*/ 11342286 w 12192000"/>
              <a:gd name="connsiteY79" fmla="*/ 669556 h 6858000"/>
              <a:gd name="connsiteX80" fmla="*/ 11340878 w 12192000"/>
              <a:gd name="connsiteY80" fmla="*/ 673778 h 6858000"/>
              <a:gd name="connsiteX81" fmla="*/ 11349323 w 12192000"/>
              <a:gd name="connsiteY81" fmla="*/ 707561 h 6858000"/>
              <a:gd name="connsiteX82" fmla="*/ 11390146 w 12192000"/>
              <a:gd name="connsiteY82" fmla="*/ 713192 h 6858000"/>
              <a:gd name="connsiteX83" fmla="*/ 11391553 w 12192000"/>
              <a:gd name="connsiteY83" fmla="*/ 711785 h 6858000"/>
              <a:gd name="connsiteX84" fmla="*/ 11391553 w 12192000"/>
              <a:gd name="connsiteY84" fmla="*/ 713192 h 6858000"/>
              <a:gd name="connsiteX85" fmla="*/ 11395775 w 12192000"/>
              <a:gd name="connsiteY85" fmla="*/ 727269 h 6858000"/>
              <a:gd name="connsiteX86" fmla="*/ 11414075 w 12192000"/>
              <a:gd name="connsiteY86" fmla="*/ 739936 h 6858000"/>
              <a:gd name="connsiteX87" fmla="*/ 11436598 w 12192000"/>
              <a:gd name="connsiteY87" fmla="*/ 730084 h 6858000"/>
              <a:gd name="connsiteX88" fmla="*/ 11484456 w 12192000"/>
              <a:gd name="connsiteY88" fmla="*/ 713192 h 6858000"/>
              <a:gd name="connsiteX89" fmla="*/ 11552023 w 12192000"/>
              <a:gd name="connsiteY89" fmla="*/ 786388 h 6858000"/>
              <a:gd name="connsiteX90" fmla="*/ 11557654 w 12192000"/>
              <a:gd name="connsiteY90" fmla="*/ 796242 h 6858000"/>
              <a:gd name="connsiteX91" fmla="*/ 11557654 w 12192000"/>
              <a:gd name="connsiteY91" fmla="*/ 797649 h 6858000"/>
              <a:gd name="connsiteX92" fmla="*/ 11563284 w 12192000"/>
              <a:gd name="connsiteY92" fmla="*/ 801873 h 6858000"/>
              <a:gd name="connsiteX93" fmla="*/ 11566099 w 12192000"/>
              <a:gd name="connsiteY93" fmla="*/ 797649 h 6858000"/>
              <a:gd name="connsiteX94" fmla="*/ 11595659 w 12192000"/>
              <a:gd name="connsiteY94" fmla="*/ 758237 h 6858000"/>
              <a:gd name="connsiteX95" fmla="*/ 11622404 w 12192000"/>
              <a:gd name="connsiteY95" fmla="*/ 754013 h 6858000"/>
              <a:gd name="connsiteX96" fmla="*/ 11625219 w 12192000"/>
              <a:gd name="connsiteY96" fmla="*/ 754013 h 6858000"/>
              <a:gd name="connsiteX97" fmla="*/ 11650556 w 12192000"/>
              <a:gd name="connsiteY97" fmla="*/ 744160 h 6858000"/>
              <a:gd name="connsiteX98" fmla="*/ 11718122 w 12192000"/>
              <a:gd name="connsiteY98" fmla="*/ 718823 h 6858000"/>
              <a:gd name="connsiteX99" fmla="*/ 11727976 w 12192000"/>
              <a:gd name="connsiteY99" fmla="*/ 721638 h 6858000"/>
              <a:gd name="connsiteX100" fmla="*/ 11725161 w 12192000"/>
              <a:gd name="connsiteY100" fmla="*/ 728675 h 6858000"/>
              <a:gd name="connsiteX101" fmla="*/ 11720939 w 12192000"/>
              <a:gd name="connsiteY101" fmla="*/ 730084 h 6858000"/>
              <a:gd name="connsiteX102" fmla="*/ 11639295 w 12192000"/>
              <a:gd name="connsiteY102" fmla="*/ 789205 h 6858000"/>
              <a:gd name="connsiteX103" fmla="*/ 11636480 w 12192000"/>
              <a:gd name="connsiteY103" fmla="*/ 810319 h 6858000"/>
              <a:gd name="connsiteX104" fmla="*/ 11636480 w 12192000"/>
              <a:gd name="connsiteY104" fmla="*/ 820172 h 6858000"/>
              <a:gd name="connsiteX105" fmla="*/ 11609736 w 12192000"/>
              <a:gd name="connsiteY105" fmla="*/ 886330 h 6858000"/>
              <a:gd name="connsiteX106" fmla="*/ 11582989 w 12192000"/>
              <a:gd name="connsiteY106" fmla="*/ 908852 h 6858000"/>
              <a:gd name="connsiteX107" fmla="*/ 11577361 w 12192000"/>
              <a:gd name="connsiteY107" fmla="*/ 914483 h 6858000"/>
              <a:gd name="connsiteX108" fmla="*/ 11571730 w 12192000"/>
              <a:gd name="connsiteY108" fmla="*/ 921520 h 6858000"/>
              <a:gd name="connsiteX109" fmla="*/ 11544984 w 12192000"/>
              <a:gd name="connsiteY109" fmla="*/ 951082 h 6858000"/>
              <a:gd name="connsiteX110" fmla="*/ 11518239 w 12192000"/>
              <a:gd name="connsiteY110" fmla="*/ 969380 h 6858000"/>
              <a:gd name="connsiteX111" fmla="*/ 11516833 w 12192000"/>
              <a:gd name="connsiteY111" fmla="*/ 969380 h 6858000"/>
              <a:gd name="connsiteX112" fmla="*/ 11515424 w 12192000"/>
              <a:gd name="connsiteY112" fmla="*/ 967974 h 6858000"/>
              <a:gd name="connsiteX113" fmla="*/ 11529501 w 12192000"/>
              <a:gd name="connsiteY113" fmla="*/ 946858 h 6858000"/>
              <a:gd name="connsiteX114" fmla="*/ 11543577 w 12192000"/>
              <a:gd name="connsiteY114" fmla="*/ 927151 h 6858000"/>
              <a:gd name="connsiteX115" fmla="*/ 11529501 w 12192000"/>
              <a:gd name="connsiteY115" fmla="*/ 932781 h 6858000"/>
              <a:gd name="connsiteX116" fmla="*/ 11515424 w 12192000"/>
              <a:gd name="connsiteY116" fmla="*/ 939821 h 6858000"/>
              <a:gd name="connsiteX117" fmla="*/ 11447857 w 12192000"/>
              <a:gd name="connsiteY117" fmla="*/ 958119 h 6858000"/>
              <a:gd name="connsiteX118" fmla="*/ 11447857 w 12192000"/>
              <a:gd name="connsiteY118" fmla="*/ 955304 h 6858000"/>
              <a:gd name="connsiteX119" fmla="*/ 11467564 w 12192000"/>
              <a:gd name="connsiteY119" fmla="*/ 942636 h 6858000"/>
              <a:gd name="connsiteX120" fmla="*/ 11528092 w 12192000"/>
              <a:gd name="connsiteY120" fmla="*/ 893369 h 6858000"/>
              <a:gd name="connsiteX121" fmla="*/ 11491495 w 12192000"/>
              <a:gd name="connsiteY121" fmla="*/ 866623 h 6858000"/>
              <a:gd name="connsiteX122" fmla="*/ 11430967 w 12192000"/>
              <a:gd name="connsiteY122" fmla="*/ 801873 h 6858000"/>
              <a:gd name="connsiteX123" fmla="*/ 11316948 w 12192000"/>
              <a:gd name="connsiteY123" fmla="*/ 856770 h 6858000"/>
              <a:gd name="connsiteX124" fmla="*/ 11288796 w 12192000"/>
              <a:gd name="connsiteY124" fmla="*/ 749791 h 6858000"/>
              <a:gd name="connsiteX125" fmla="*/ 11508387 w 12192000"/>
              <a:gd name="connsiteY125" fmla="*/ 530201 h 6858000"/>
              <a:gd name="connsiteX126" fmla="*/ 11509794 w 12192000"/>
              <a:gd name="connsiteY126" fmla="*/ 511901 h 6858000"/>
              <a:gd name="connsiteX127" fmla="*/ 11270497 w 12192000"/>
              <a:gd name="connsiteY127" fmla="*/ 751198 h 6858000"/>
              <a:gd name="connsiteX128" fmla="*/ 11509794 w 12192000"/>
              <a:gd name="connsiteY128" fmla="*/ 990494 h 6858000"/>
              <a:gd name="connsiteX129" fmla="*/ 11749090 w 12192000"/>
              <a:gd name="connsiteY129" fmla="*/ 751198 h 6858000"/>
              <a:gd name="connsiteX130" fmla="*/ 11509794 w 12192000"/>
              <a:gd name="connsiteY130" fmla="*/ 511901 h 6858000"/>
              <a:gd name="connsiteX131" fmla="*/ 0 w 12192000"/>
              <a:gd name="connsiteY131" fmla="*/ 0 h 6858000"/>
              <a:gd name="connsiteX132" fmla="*/ 12192000 w 12192000"/>
              <a:gd name="connsiteY132" fmla="*/ 0 h 6858000"/>
              <a:gd name="connsiteX133" fmla="*/ 12192000 w 12192000"/>
              <a:gd name="connsiteY133" fmla="*/ 6858000 h 6858000"/>
              <a:gd name="connsiteX134" fmla="*/ 0 w 12192000"/>
              <a:gd name="connsiteY13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</a:cxnLst>
            <a:rect l="l" t="t" r="r" b="b"/>
            <a:pathLst>
              <a:path w="12192000" h="6858000">
                <a:moveTo>
                  <a:pt x="11616773" y="766683"/>
                </a:moveTo>
                <a:cubicBezTo>
                  <a:pt x="11611142" y="766683"/>
                  <a:pt x="11606920" y="770905"/>
                  <a:pt x="11606920" y="776535"/>
                </a:cubicBezTo>
                <a:cubicBezTo>
                  <a:pt x="11606920" y="782166"/>
                  <a:pt x="11611142" y="786388"/>
                  <a:pt x="11616773" y="786388"/>
                </a:cubicBezTo>
                <a:cubicBezTo>
                  <a:pt x="11622404" y="784981"/>
                  <a:pt x="11626627" y="780759"/>
                  <a:pt x="11626627" y="776535"/>
                </a:cubicBezTo>
                <a:cubicBezTo>
                  <a:pt x="11626627" y="770905"/>
                  <a:pt x="11622404" y="766683"/>
                  <a:pt x="11616773" y="766683"/>
                </a:cubicBezTo>
                <a:close/>
                <a:moveTo>
                  <a:pt x="11435366" y="690142"/>
                </a:moveTo>
                <a:cubicBezTo>
                  <a:pt x="11440820" y="689262"/>
                  <a:pt x="11445747" y="689966"/>
                  <a:pt x="11450674" y="692078"/>
                </a:cubicBezTo>
                <a:lnTo>
                  <a:pt x="11452081" y="692078"/>
                </a:lnTo>
                <a:cubicBezTo>
                  <a:pt x="11452081" y="692078"/>
                  <a:pt x="11452081" y="693485"/>
                  <a:pt x="11450674" y="693485"/>
                </a:cubicBezTo>
                <a:cubicBezTo>
                  <a:pt x="11447857" y="699116"/>
                  <a:pt x="11442228" y="706155"/>
                  <a:pt x="11430967" y="710377"/>
                </a:cubicBezTo>
                <a:cubicBezTo>
                  <a:pt x="11423928" y="713192"/>
                  <a:pt x="11419706" y="714599"/>
                  <a:pt x="11414075" y="714599"/>
                </a:cubicBezTo>
                <a:cubicBezTo>
                  <a:pt x="11407036" y="714599"/>
                  <a:pt x="11401406" y="713192"/>
                  <a:pt x="11399999" y="711785"/>
                </a:cubicBezTo>
                <a:cubicBezTo>
                  <a:pt x="11399999" y="711785"/>
                  <a:pt x="11407036" y="704746"/>
                  <a:pt x="11416891" y="697709"/>
                </a:cubicBezTo>
                <a:cubicBezTo>
                  <a:pt x="11423929" y="693486"/>
                  <a:pt x="11429911" y="691022"/>
                  <a:pt x="11435366" y="690142"/>
                </a:cubicBezTo>
                <a:close/>
                <a:moveTo>
                  <a:pt x="11461934" y="609028"/>
                </a:moveTo>
                <a:cubicBezTo>
                  <a:pt x="11468973" y="609028"/>
                  <a:pt x="11474603" y="613250"/>
                  <a:pt x="11474603" y="618881"/>
                </a:cubicBezTo>
                <a:cubicBezTo>
                  <a:pt x="11474603" y="624511"/>
                  <a:pt x="11468973" y="628735"/>
                  <a:pt x="11461934" y="628735"/>
                </a:cubicBezTo>
                <a:cubicBezTo>
                  <a:pt x="11454896" y="628735"/>
                  <a:pt x="11449266" y="624511"/>
                  <a:pt x="11449266" y="618881"/>
                </a:cubicBezTo>
                <a:cubicBezTo>
                  <a:pt x="11449266" y="613250"/>
                  <a:pt x="11454896" y="609028"/>
                  <a:pt x="11461934" y="609028"/>
                </a:cubicBezTo>
                <a:close/>
                <a:moveTo>
                  <a:pt x="11508387" y="530201"/>
                </a:moveTo>
                <a:cubicBezTo>
                  <a:pt x="11574544" y="530201"/>
                  <a:pt x="11633665" y="559761"/>
                  <a:pt x="11674486" y="606213"/>
                </a:cubicBezTo>
                <a:cubicBezTo>
                  <a:pt x="11699823" y="638588"/>
                  <a:pt x="11695601" y="665332"/>
                  <a:pt x="11678709" y="679408"/>
                </a:cubicBezTo>
                <a:cubicBezTo>
                  <a:pt x="11657596" y="694893"/>
                  <a:pt x="11629443" y="689263"/>
                  <a:pt x="11625219" y="676593"/>
                </a:cubicBezTo>
                <a:cubicBezTo>
                  <a:pt x="11623812" y="669556"/>
                  <a:pt x="11629443" y="666741"/>
                  <a:pt x="11629443" y="666741"/>
                </a:cubicBezTo>
                <a:cubicBezTo>
                  <a:pt x="11630849" y="665332"/>
                  <a:pt x="11633665" y="665332"/>
                  <a:pt x="11636480" y="665332"/>
                </a:cubicBezTo>
                <a:cubicBezTo>
                  <a:pt x="11640704" y="665332"/>
                  <a:pt x="11640704" y="662517"/>
                  <a:pt x="11637888" y="661110"/>
                </a:cubicBezTo>
                <a:cubicBezTo>
                  <a:pt x="11633665" y="658295"/>
                  <a:pt x="11626627" y="655479"/>
                  <a:pt x="11620997" y="655479"/>
                </a:cubicBezTo>
                <a:cubicBezTo>
                  <a:pt x="11612551" y="655479"/>
                  <a:pt x="11599881" y="656888"/>
                  <a:pt x="11599881" y="656888"/>
                </a:cubicBezTo>
                <a:cubicBezTo>
                  <a:pt x="11597066" y="656888"/>
                  <a:pt x="11594252" y="655479"/>
                  <a:pt x="11591435" y="654071"/>
                </a:cubicBezTo>
                <a:cubicBezTo>
                  <a:pt x="11590028" y="652664"/>
                  <a:pt x="11588620" y="651256"/>
                  <a:pt x="11588620" y="649849"/>
                </a:cubicBezTo>
                <a:cubicBezTo>
                  <a:pt x="11587213" y="642811"/>
                  <a:pt x="11591435" y="641403"/>
                  <a:pt x="11591435" y="641403"/>
                </a:cubicBezTo>
                <a:cubicBezTo>
                  <a:pt x="11592844" y="639996"/>
                  <a:pt x="11597066" y="638588"/>
                  <a:pt x="11599881" y="639996"/>
                </a:cubicBezTo>
                <a:cubicBezTo>
                  <a:pt x="11604105" y="639996"/>
                  <a:pt x="11604105" y="637181"/>
                  <a:pt x="11601290" y="635772"/>
                </a:cubicBezTo>
                <a:cubicBezTo>
                  <a:pt x="11597066" y="632957"/>
                  <a:pt x="11590028" y="630142"/>
                  <a:pt x="11584398" y="630142"/>
                </a:cubicBezTo>
                <a:cubicBezTo>
                  <a:pt x="11575952" y="630142"/>
                  <a:pt x="11563284" y="631550"/>
                  <a:pt x="11563284" y="631550"/>
                </a:cubicBezTo>
                <a:cubicBezTo>
                  <a:pt x="11560469" y="631550"/>
                  <a:pt x="11557654" y="630142"/>
                  <a:pt x="11554838" y="628735"/>
                </a:cubicBezTo>
                <a:cubicBezTo>
                  <a:pt x="11553430" y="627326"/>
                  <a:pt x="11552023" y="625920"/>
                  <a:pt x="11552023" y="624511"/>
                </a:cubicBezTo>
                <a:cubicBezTo>
                  <a:pt x="11550614" y="617474"/>
                  <a:pt x="11554838" y="614659"/>
                  <a:pt x="11554838" y="614659"/>
                </a:cubicBezTo>
                <a:cubicBezTo>
                  <a:pt x="11556245" y="613250"/>
                  <a:pt x="11559060" y="611843"/>
                  <a:pt x="11563284" y="613250"/>
                </a:cubicBezTo>
                <a:cubicBezTo>
                  <a:pt x="11567506" y="613250"/>
                  <a:pt x="11567506" y="610435"/>
                  <a:pt x="11564691" y="609028"/>
                </a:cubicBezTo>
                <a:cubicBezTo>
                  <a:pt x="11560469" y="606213"/>
                  <a:pt x="11553430" y="603397"/>
                  <a:pt x="11547799" y="603397"/>
                </a:cubicBezTo>
                <a:cubicBezTo>
                  <a:pt x="11539353" y="603397"/>
                  <a:pt x="11526685" y="604804"/>
                  <a:pt x="11526685" y="604804"/>
                </a:cubicBezTo>
                <a:cubicBezTo>
                  <a:pt x="11525277" y="604804"/>
                  <a:pt x="11522463" y="604804"/>
                  <a:pt x="11522463" y="603397"/>
                </a:cubicBezTo>
                <a:cubicBezTo>
                  <a:pt x="11521055" y="601989"/>
                  <a:pt x="11521055" y="601989"/>
                  <a:pt x="11521055" y="600582"/>
                </a:cubicBezTo>
                <a:cubicBezTo>
                  <a:pt x="11521055" y="599174"/>
                  <a:pt x="11521055" y="596358"/>
                  <a:pt x="11522463" y="593545"/>
                </a:cubicBezTo>
                <a:cubicBezTo>
                  <a:pt x="11523870" y="587912"/>
                  <a:pt x="11525277" y="582282"/>
                  <a:pt x="11523870" y="573836"/>
                </a:cubicBezTo>
                <a:cubicBezTo>
                  <a:pt x="11522463" y="558353"/>
                  <a:pt x="11514017" y="552722"/>
                  <a:pt x="11511200" y="551315"/>
                </a:cubicBezTo>
                <a:cubicBezTo>
                  <a:pt x="11508387" y="549907"/>
                  <a:pt x="11506978" y="549907"/>
                  <a:pt x="11506978" y="549907"/>
                </a:cubicBezTo>
                <a:cubicBezTo>
                  <a:pt x="11506978" y="549907"/>
                  <a:pt x="11505571" y="552722"/>
                  <a:pt x="11505571" y="555537"/>
                </a:cubicBezTo>
                <a:cubicBezTo>
                  <a:pt x="11504163" y="566799"/>
                  <a:pt x="11502756" y="589321"/>
                  <a:pt x="11480234" y="589321"/>
                </a:cubicBezTo>
                <a:cubicBezTo>
                  <a:pt x="11477418" y="589321"/>
                  <a:pt x="11474603" y="589321"/>
                  <a:pt x="11471788" y="589321"/>
                </a:cubicBezTo>
                <a:cubicBezTo>
                  <a:pt x="11470379" y="589321"/>
                  <a:pt x="11467564" y="589321"/>
                  <a:pt x="11466157" y="589321"/>
                </a:cubicBezTo>
                <a:cubicBezTo>
                  <a:pt x="11464749" y="589321"/>
                  <a:pt x="11464749" y="589321"/>
                  <a:pt x="11463342" y="589321"/>
                </a:cubicBezTo>
                <a:cubicBezTo>
                  <a:pt x="11461934" y="589321"/>
                  <a:pt x="11459120" y="589321"/>
                  <a:pt x="11457711" y="589321"/>
                </a:cubicBezTo>
                <a:cubicBezTo>
                  <a:pt x="11454896" y="589321"/>
                  <a:pt x="11452081" y="589321"/>
                  <a:pt x="11449266" y="590728"/>
                </a:cubicBezTo>
                <a:cubicBezTo>
                  <a:pt x="11438004" y="593545"/>
                  <a:pt x="11430967" y="600582"/>
                  <a:pt x="11429558" y="610435"/>
                </a:cubicBezTo>
                <a:cubicBezTo>
                  <a:pt x="11429558" y="611843"/>
                  <a:pt x="11429558" y="611843"/>
                  <a:pt x="11429558" y="613250"/>
                </a:cubicBezTo>
                <a:cubicBezTo>
                  <a:pt x="11429558" y="614659"/>
                  <a:pt x="11429558" y="617474"/>
                  <a:pt x="11426743" y="617474"/>
                </a:cubicBezTo>
                <a:cubicBezTo>
                  <a:pt x="11426743" y="617474"/>
                  <a:pt x="11422521" y="618881"/>
                  <a:pt x="11415482" y="618881"/>
                </a:cubicBezTo>
                <a:cubicBezTo>
                  <a:pt x="11390146" y="621696"/>
                  <a:pt x="11380292" y="611843"/>
                  <a:pt x="11373254" y="607619"/>
                </a:cubicBezTo>
                <a:cubicBezTo>
                  <a:pt x="11371846" y="607619"/>
                  <a:pt x="11370439" y="606213"/>
                  <a:pt x="11370439" y="606213"/>
                </a:cubicBezTo>
                <a:cubicBezTo>
                  <a:pt x="11370439" y="606213"/>
                  <a:pt x="11370439" y="606213"/>
                  <a:pt x="11369031" y="607619"/>
                </a:cubicBezTo>
                <a:cubicBezTo>
                  <a:pt x="11364808" y="611843"/>
                  <a:pt x="11357769" y="624511"/>
                  <a:pt x="11357769" y="637181"/>
                </a:cubicBezTo>
                <a:cubicBezTo>
                  <a:pt x="11359178" y="658295"/>
                  <a:pt x="11373254" y="670963"/>
                  <a:pt x="11377476" y="673778"/>
                </a:cubicBezTo>
                <a:cubicBezTo>
                  <a:pt x="11381700" y="676593"/>
                  <a:pt x="11384514" y="678002"/>
                  <a:pt x="11384514" y="678002"/>
                </a:cubicBezTo>
                <a:cubicBezTo>
                  <a:pt x="11384514" y="678002"/>
                  <a:pt x="11384514" y="676593"/>
                  <a:pt x="11384514" y="675186"/>
                </a:cubicBezTo>
                <a:cubicBezTo>
                  <a:pt x="11384514" y="672371"/>
                  <a:pt x="11384514" y="669556"/>
                  <a:pt x="11387331" y="665332"/>
                </a:cubicBezTo>
                <a:cubicBezTo>
                  <a:pt x="11392960" y="655479"/>
                  <a:pt x="11401406" y="659701"/>
                  <a:pt x="11405629" y="661110"/>
                </a:cubicBezTo>
                <a:cubicBezTo>
                  <a:pt x="11407036" y="661110"/>
                  <a:pt x="11407036" y="661110"/>
                  <a:pt x="11407036" y="662517"/>
                </a:cubicBezTo>
                <a:cubicBezTo>
                  <a:pt x="11411260" y="663925"/>
                  <a:pt x="11415482" y="666741"/>
                  <a:pt x="11419706" y="666741"/>
                </a:cubicBezTo>
                <a:cubicBezTo>
                  <a:pt x="11423928" y="666741"/>
                  <a:pt x="11429558" y="663925"/>
                  <a:pt x="11432374" y="662517"/>
                </a:cubicBezTo>
                <a:cubicBezTo>
                  <a:pt x="11439413" y="659701"/>
                  <a:pt x="11446450" y="658295"/>
                  <a:pt x="11450674" y="662517"/>
                </a:cubicBezTo>
                <a:cubicBezTo>
                  <a:pt x="11454896" y="666741"/>
                  <a:pt x="11453489" y="676593"/>
                  <a:pt x="11453489" y="678002"/>
                </a:cubicBezTo>
                <a:lnTo>
                  <a:pt x="11453489" y="679408"/>
                </a:lnTo>
                <a:lnTo>
                  <a:pt x="11452081" y="679408"/>
                </a:lnTo>
                <a:cubicBezTo>
                  <a:pt x="11436598" y="673778"/>
                  <a:pt x="11430967" y="675186"/>
                  <a:pt x="11418297" y="676593"/>
                </a:cubicBezTo>
                <a:cubicBezTo>
                  <a:pt x="11411260" y="678002"/>
                  <a:pt x="11404221" y="682224"/>
                  <a:pt x="11398590" y="685039"/>
                </a:cubicBezTo>
                <a:cubicBezTo>
                  <a:pt x="11385922" y="692078"/>
                  <a:pt x="11380292" y="697709"/>
                  <a:pt x="11364808" y="692078"/>
                </a:cubicBezTo>
                <a:cubicBezTo>
                  <a:pt x="11350732" y="686448"/>
                  <a:pt x="11346508" y="678002"/>
                  <a:pt x="11343693" y="672371"/>
                </a:cubicBezTo>
                <a:cubicBezTo>
                  <a:pt x="11342286" y="670963"/>
                  <a:pt x="11342286" y="669556"/>
                  <a:pt x="11342286" y="669556"/>
                </a:cubicBezTo>
                <a:cubicBezTo>
                  <a:pt x="11342286" y="669556"/>
                  <a:pt x="11340878" y="670963"/>
                  <a:pt x="11340878" y="673778"/>
                </a:cubicBezTo>
                <a:cubicBezTo>
                  <a:pt x="11338062" y="680817"/>
                  <a:pt x="11338062" y="694893"/>
                  <a:pt x="11349323" y="707561"/>
                </a:cubicBezTo>
                <a:cubicBezTo>
                  <a:pt x="11364808" y="725860"/>
                  <a:pt x="11380292" y="718823"/>
                  <a:pt x="11390146" y="713192"/>
                </a:cubicBezTo>
                <a:lnTo>
                  <a:pt x="11391553" y="711785"/>
                </a:lnTo>
                <a:lnTo>
                  <a:pt x="11391553" y="713192"/>
                </a:lnTo>
                <a:cubicBezTo>
                  <a:pt x="11391553" y="716007"/>
                  <a:pt x="11392960" y="721638"/>
                  <a:pt x="11395775" y="727269"/>
                </a:cubicBezTo>
                <a:cubicBezTo>
                  <a:pt x="11398590" y="732899"/>
                  <a:pt x="11405629" y="739936"/>
                  <a:pt x="11414075" y="739936"/>
                </a:cubicBezTo>
                <a:cubicBezTo>
                  <a:pt x="11419706" y="739936"/>
                  <a:pt x="11428152" y="735714"/>
                  <a:pt x="11436598" y="730084"/>
                </a:cubicBezTo>
                <a:cubicBezTo>
                  <a:pt x="11452081" y="721638"/>
                  <a:pt x="11464749" y="710377"/>
                  <a:pt x="11484456" y="713192"/>
                </a:cubicBezTo>
                <a:cubicBezTo>
                  <a:pt x="11515424" y="718823"/>
                  <a:pt x="11540762" y="765274"/>
                  <a:pt x="11552023" y="786388"/>
                </a:cubicBezTo>
                <a:cubicBezTo>
                  <a:pt x="11554838" y="790612"/>
                  <a:pt x="11556245" y="794834"/>
                  <a:pt x="11557654" y="796242"/>
                </a:cubicBezTo>
                <a:cubicBezTo>
                  <a:pt x="11557654" y="796242"/>
                  <a:pt x="11557654" y="796242"/>
                  <a:pt x="11557654" y="797649"/>
                </a:cubicBezTo>
                <a:cubicBezTo>
                  <a:pt x="11559060" y="799058"/>
                  <a:pt x="11561876" y="803280"/>
                  <a:pt x="11563284" y="801873"/>
                </a:cubicBezTo>
                <a:cubicBezTo>
                  <a:pt x="11566099" y="800464"/>
                  <a:pt x="11566099" y="797649"/>
                  <a:pt x="11566099" y="797649"/>
                </a:cubicBezTo>
                <a:cubicBezTo>
                  <a:pt x="11568915" y="772313"/>
                  <a:pt x="11585806" y="762459"/>
                  <a:pt x="11595659" y="758237"/>
                </a:cubicBezTo>
                <a:cubicBezTo>
                  <a:pt x="11605512" y="754013"/>
                  <a:pt x="11615366" y="754013"/>
                  <a:pt x="11622404" y="754013"/>
                </a:cubicBezTo>
                <a:cubicBezTo>
                  <a:pt x="11623812" y="754013"/>
                  <a:pt x="11623812" y="754013"/>
                  <a:pt x="11625219" y="754013"/>
                </a:cubicBezTo>
                <a:cubicBezTo>
                  <a:pt x="11630849" y="754013"/>
                  <a:pt x="11639295" y="749791"/>
                  <a:pt x="11650556" y="744160"/>
                </a:cubicBezTo>
                <a:cubicBezTo>
                  <a:pt x="11667448" y="735714"/>
                  <a:pt x="11689971" y="724453"/>
                  <a:pt x="11718122" y="718823"/>
                </a:cubicBezTo>
                <a:cubicBezTo>
                  <a:pt x="11725161" y="717414"/>
                  <a:pt x="11727976" y="718823"/>
                  <a:pt x="11727976" y="721638"/>
                </a:cubicBezTo>
                <a:cubicBezTo>
                  <a:pt x="11727976" y="723045"/>
                  <a:pt x="11727976" y="727269"/>
                  <a:pt x="11725161" y="728675"/>
                </a:cubicBezTo>
                <a:lnTo>
                  <a:pt x="11720939" y="730084"/>
                </a:lnTo>
                <a:cubicBezTo>
                  <a:pt x="11692786" y="742752"/>
                  <a:pt x="11649150" y="758237"/>
                  <a:pt x="11639295" y="789205"/>
                </a:cubicBezTo>
                <a:cubicBezTo>
                  <a:pt x="11636480" y="794834"/>
                  <a:pt x="11636480" y="801873"/>
                  <a:pt x="11636480" y="810319"/>
                </a:cubicBezTo>
                <a:cubicBezTo>
                  <a:pt x="11636480" y="813134"/>
                  <a:pt x="11636480" y="815949"/>
                  <a:pt x="11636480" y="820172"/>
                </a:cubicBezTo>
                <a:cubicBezTo>
                  <a:pt x="11636480" y="855362"/>
                  <a:pt x="11619588" y="876477"/>
                  <a:pt x="11609736" y="886330"/>
                </a:cubicBezTo>
                <a:cubicBezTo>
                  <a:pt x="11599881" y="896184"/>
                  <a:pt x="11590028" y="904628"/>
                  <a:pt x="11582989" y="908852"/>
                </a:cubicBezTo>
                <a:cubicBezTo>
                  <a:pt x="11580176" y="911668"/>
                  <a:pt x="11577361" y="913074"/>
                  <a:pt x="11577361" y="914483"/>
                </a:cubicBezTo>
                <a:cubicBezTo>
                  <a:pt x="11577361" y="914483"/>
                  <a:pt x="11574544" y="917298"/>
                  <a:pt x="11571730" y="921520"/>
                </a:cubicBezTo>
                <a:cubicBezTo>
                  <a:pt x="11564691" y="929966"/>
                  <a:pt x="11554838" y="942636"/>
                  <a:pt x="11544984" y="951082"/>
                </a:cubicBezTo>
                <a:cubicBezTo>
                  <a:pt x="11535131" y="960934"/>
                  <a:pt x="11522463" y="969380"/>
                  <a:pt x="11518239" y="969380"/>
                </a:cubicBezTo>
                <a:cubicBezTo>
                  <a:pt x="11516833" y="969380"/>
                  <a:pt x="11516833" y="969380"/>
                  <a:pt x="11516833" y="969380"/>
                </a:cubicBezTo>
                <a:cubicBezTo>
                  <a:pt x="11516833" y="969380"/>
                  <a:pt x="11515424" y="967974"/>
                  <a:pt x="11515424" y="967974"/>
                </a:cubicBezTo>
                <a:cubicBezTo>
                  <a:pt x="11515424" y="965158"/>
                  <a:pt x="11521055" y="958119"/>
                  <a:pt x="11529501" y="946858"/>
                </a:cubicBezTo>
                <a:cubicBezTo>
                  <a:pt x="11539353" y="935597"/>
                  <a:pt x="11543577" y="928559"/>
                  <a:pt x="11543577" y="927151"/>
                </a:cubicBezTo>
                <a:cubicBezTo>
                  <a:pt x="11542168" y="927151"/>
                  <a:pt x="11536538" y="929966"/>
                  <a:pt x="11529501" y="932781"/>
                </a:cubicBezTo>
                <a:cubicBezTo>
                  <a:pt x="11525277" y="934190"/>
                  <a:pt x="11521055" y="937005"/>
                  <a:pt x="11515424" y="939821"/>
                </a:cubicBezTo>
                <a:cubicBezTo>
                  <a:pt x="11495717" y="949673"/>
                  <a:pt x="11453489" y="963750"/>
                  <a:pt x="11447857" y="958119"/>
                </a:cubicBezTo>
                <a:cubicBezTo>
                  <a:pt x="11446450" y="956712"/>
                  <a:pt x="11446450" y="956712"/>
                  <a:pt x="11447857" y="955304"/>
                </a:cubicBezTo>
                <a:cubicBezTo>
                  <a:pt x="11447857" y="952489"/>
                  <a:pt x="11454896" y="949673"/>
                  <a:pt x="11467564" y="942636"/>
                </a:cubicBezTo>
                <a:cubicBezTo>
                  <a:pt x="11488680" y="932781"/>
                  <a:pt x="11521055" y="915891"/>
                  <a:pt x="11528092" y="893369"/>
                </a:cubicBezTo>
                <a:cubicBezTo>
                  <a:pt x="11523870" y="893369"/>
                  <a:pt x="11509794" y="893369"/>
                  <a:pt x="11491495" y="866623"/>
                </a:cubicBezTo>
                <a:cubicBezTo>
                  <a:pt x="11468973" y="832841"/>
                  <a:pt x="11456303" y="801873"/>
                  <a:pt x="11430967" y="801873"/>
                </a:cubicBezTo>
                <a:cubicBezTo>
                  <a:pt x="11401406" y="801873"/>
                  <a:pt x="11339471" y="842694"/>
                  <a:pt x="11316948" y="856770"/>
                </a:cubicBezTo>
                <a:cubicBezTo>
                  <a:pt x="11298650" y="824395"/>
                  <a:pt x="11288796" y="789205"/>
                  <a:pt x="11288796" y="749791"/>
                </a:cubicBezTo>
                <a:cubicBezTo>
                  <a:pt x="11288796" y="628735"/>
                  <a:pt x="11387331" y="530201"/>
                  <a:pt x="11508387" y="530201"/>
                </a:cubicBezTo>
                <a:close/>
                <a:moveTo>
                  <a:pt x="11509794" y="511901"/>
                </a:moveTo>
                <a:cubicBezTo>
                  <a:pt x="11377476" y="511901"/>
                  <a:pt x="11270497" y="618881"/>
                  <a:pt x="11270497" y="751198"/>
                </a:cubicBezTo>
                <a:cubicBezTo>
                  <a:pt x="11270497" y="883515"/>
                  <a:pt x="11377476" y="990494"/>
                  <a:pt x="11509794" y="990494"/>
                </a:cubicBezTo>
                <a:cubicBezTo>
                  <a:pt x="11642111" y="990494"/>
                  <a:pt x="11749090" y="883515"/>
                  <a:pt x="11749090" y="751198"/>
                </a:cubicBezTo>
                <a:cubicBezTo>
                  <a:pt x="11749090" y="618881"/>
                  <a:pt x="11642111" y="511901"/>
                  <a:pt x="11509794" y="511901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E740D4-1B25-4367-9B11-A14AE3B9F6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332185" y="1888673"/>
            <a:ext cx="4131469" cy="27700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7CDAAF-2AF2-4783-8DE4-27BC54426A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noFill/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8AD48C63-78A6-4D64-B839-4870EFEB9C1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CC5F6CF5-D817-4E9F-B4EC-D1086396E0B9}"/>
              </a:ext>
            </a:extLst>
          </p:cNvPr>
          <p:cNvSpPr>
            <a:spLocks noGrp="1"/>
          </p:cNvSpPr>
          <p:nvPr>
            <p:ph type="subTitle" idx="18"/>
          </p:nvPr>
        </p:nvSpPr>
        <p:spPr bwMode="white">
          <a:xfrm>
            <a:off x="332185" y="2165672"/>
            <a:ext cx="4131469" cy="276999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800" b="0" i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225"/>
              </a:spcAft>
              <a:buNone/>
              <a:defRPr sz="1800" i="1">
                <a:solidFill>
                  <a:schemeClr val="accent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FAEE512-B3D4-41E8-BA9F-5EB4E976C47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First name last name, dat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FAB3DF0-3B99-46B4-A7A3-12D5ED817A8C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3"/>
            </p:custDataLst>
          </p:nvPr>
        </p:nvSpPr>
        <p:spPr>
          <a:xfrm>
            <a:off x="6724036" y="4885343"/>
            <a:ext cx="1728839" cy="115416"/>
          </a:xfrm>
        </p:spPr>
        <p:txBody>
          <a:bodyPr/>
          <a:lstStyle>
            <a:lvl1pPr algn="r">
              <a:defRPr sz="750" b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Internal confidential  •  Copyright® 202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101750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2" pos="3840">
          <p15:clr>
            <a:srgbClr val="9FCC3B"/>
          </p15:clr>
        </p15:guide>
        <p15:guide id="3" pos="7401">
          <p15:clr>
            <a:srgbClr val="9FCC3B"/>
          </p15:clr>
        </p15:guide>
        <p15:guide id="4" pos="279">
          <p15:clr>
            <a:srgbClr val="9FCC3B"/>
          </p15:clr>
        </p15:guide>
        <p15:guide id="5" orient="horz" pos="4042">
          <p15:clr>
            <a:srgbClr val="9FCC3B"/>
          </p15:clr>
        </p15:guide>
        <p15:guide id="6" orient="horz" pos="2160">
          <p15:clr>
            <a:srgbClr val="9FCC3B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-size Picture | Colored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7D3CB4D-B192-44BD-A773-5FD715A908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982142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88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37D3CB4D-B192-44BD-A773-5FD715A908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8CBF7BF-9123-4DDD-8A35-D632192CD16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3500"/>
          </a:xfrm>
          <a:custGeom>
            <a:avLst/>
            <a:gdLst>
              <a:gd name="connsiteX0" fmla="*/ 11616773 w 12192000"/>
              <a:gd name="connsiteY0" fmla="*/ 766683 h 6858000"/>
              <a:gd name="connsiteX1" fmla="*/ 11606920 w 12192000"/>
              <a:gd name="connsiteY1" fmla="*/ 776535 h 6858000"/>
              <a:gd name="connsiteX2" fmla="*/ 11616773 w 12192000"/>
              <a:gd name="connsiteY2" fmla="*/ 786388 h 6858000"/>
              <a:gd name="connsiteX3" fmla="*/ 11626627 w 12192000"/>
              <a:gd name="connsiteY3" fmla="*/ 776535 h 6858000"/>
              <a:gd name="connsiteX4" fmla="*/ 11616773 w 12192000"/>
              <a:gd name="connsiteY4" fmla="*/ 766683 h 6858000"/>
              <a:gd name="connsiteX5" fmla="*/ 11435366 w 12192000"/>
              <a:gd name="connsiteY5" fmla="*/ 690142 h 6858000"/>
              <a:gd name="connsiteX6" fmla="*/ 11450674 w 12192000"/>
              <a:gd name="connsiteY6" fmla="*/ 692078 h 6858000"/>
              <a:gd name="connsiteX7" fmla="*/ 11452081 w 12192000"/>
              <a:gd name="connsiteY7" fmla="*/ 692078 h 6858000"/>
              <a:gd name="connsiteX8" fmla="*/ 11450674 w 12192000"/>
              <a:gd name="connsiteY8" fmla="*/ 693485 h 6858000"/>
              <a:gd name="connsiteX9" fmla="*/ 11430967 w 12192000"/>
              <a:gd name="connsiteY9" fmla="*/ 710377 h 6858000"/>
              <a:gd name="connsiteX10" fmla="*/ 11414075 w 12192000"/>
              <a:gd name="connsiteY10" fmla="*/ 714599 h 6858000"/>
              <a:gd name="connsiteX11" fmla="*/ 11399999 w 12192000"/>
              <a:gd name="connsiteY11" fmla="*/ 711785 h 6858000"/>
              <a:gd name="connsiteX12" fmla="*/ 11416891 w 12192000"/>
              <a:gd name="connsiteY12" fmla="*/ 697709 h 6858000"/>
              <a:gd name="connsiteX13" fmla="*/ 11435366 w 12192000"/>
              <a:gd name="connsiteY13" fmla="*/ 690142 h 6858000"/>
              <a:gd name="connsiteX14" fmla="*/ 11461934 w 12192000"/>
              <a:gd name="connsiteY14" fmla="*/ 609028 h 6858000"/>
              <a:gd name="connsiteX15" fmla="*/ 11474603 w 12192000"/>
              <a:gd name="connsiteY15" fmla="*/ 618881 h 6858000"/>
              <a:gd name="connsiteX16" fmla="*/ 11461934 w 12192000"/>
              <a:gd name="connsiteY16" fmla="*/ 628735 h 6858000"/>
              <a:gd name="connsiteX17" fmla="*/ 11449266 w 12192000"/>
              <a:gd name="connsiteY17" fmla="*/ 618881 h 6858000"/>
              <a:gd name="connsiteX18" fmla="*/ 11461934 w 12192000"/>
              <a:gd name="connsiteY18" fmla="*/ 609028 h 6858000"/>
              <a:gd name="connsiteX19" fmla="*/ 11508387 w 12192000"/>
              <a:gd name="connsiteY19" fmla="*/ 530201 h 6858000"/>
              <a:gd name="connsiteX20" fmla="*/ 11674486 w 12192000"/>
              <a:gd name="connsiteY20" fmla="*/ 606213 h 6858000"/>
              <a:gd name="connsiteX21" fmla="*/ 11678709 w 12192000"/>
              <a:gd name="connsiteY21" fmla="*/ 679408 h 6858000"/>
              <a:gd name="connsiteX22" fmla="*/ 11625219 w 12192000"/>
              <a:gd name="connsiteY22" fmla="*/ 676593 h 6858000"/>
              <a:gd name="connsiteX23" fmla="*/ 11629443 w 12192000"/>
              <a:gd name="connsiteY23" fmla="*/ 666741 h 6858000"/>
              <a:gd name="connsiteX24" fmla="*/ 11636480 w 12192000"/>
              <a:gd name="connsiteY24" fmla="*/ 665332 h 6858000"/>
              <a:gd name="connsiteX25" fmla="*/ 11637888 w 12192000"/>
              <a:gd name="connsiteY25" fmla="*/ 661110 h 6858000"/>
              <a:gd name="connsiteX26" fmla="*/ 11620997 w 12192000"/>
              <a:gd name="connsiteY26" fmla="*/ 655479 h 6858000"/>
              <a:gd name="connsiteX27" fmla="*/ 11599881 w 12192000"/>
              <a:gd name="connsiteY27" fmla="*/ 656888 h 6858000"/>
              <a:gd name="connsiteX28" fmla="*/ 11591435 w 12192000"/>
              <a:gd name="connsiteY28" fmla="*/ 654071 h 6858000"/>
              <a:gd name="connsiteX29" fmla="*/ 11588620 w 12192000"/>
              <a:gd name="connsiteY29" fmla="*/ 649849 h 6858000"/>
              <a:gd name="connsiteX30" fmla="*/ 11591435 w 12192000"/>
              <a:gd name="connsiteY30" fmla="*/ 641403 h 6858000"/>
              <a:gd name="connsiteX31" fmla="*/ 11599881 w 12192000"/>
              <a:gd name="connsiteY31" fmla="*/ 639996 h 6858000"/>
              <a:gd name="connsiteX32" fmla="*/ 11601290 w 12192000"/>
              <a:gd name="connsiteY32" fmla="*/ 635772 h 6858000"/>
              <a:gd name="connsiteX33" fmla="*/ 11584398 w 12192000"/>
              <a:gd name="connsiteY33" fmla="*/ 630142 h 6858000"/>
              <a:gd name="connsiteX34" fmla="*/ 11563284 w 12192000"/>
              <a:gd name="connsiteY34" fmla="*/ 631550 h 6858000"/>
              <a:gd name="connsiteX35" fmla="*/ 11554838 w 12192000"/>
              <a:gd name="connsiteY35" fmla="*/ 628735 h 6858000"/>
              <a:gd name="connsiteX36" fmla="*/ 11552023 w 12192000"/>
              <a:gd name="connsiteY36" fmla="*/ 624511 h 6858000"/>
              <a:gd name="connsiteX37" fmla="*/ 11554838 w 12192000"/>
              <a:gd name="connsiteY37" fmla="*/ 614659 h 6858000"/>
              <a:gd name="connsiteX38" fmla="*/ 11563284 w 12192000"/>
              <a:gd name="connsiteY38" fmla="*/ 613250 h 6858000"/>
              <a:gd name="connsiteX39" fmla="*/ 11564691 w 12192000"/>
              <a:gd name="connsiteY39" fmla="*/ 609028 h 6858000"/>
              <a:gd name="connsiteX40" fmla="*/ 11547799 w 12192000"/>
              <a:gd name="connsiteY40" fmla="*/ 603397 h 6858000"/>
              <a:gd name="connsiteX41" fmla="*/ 11526685 w 12192000"/>
              <a:gd name="connsiteY41" fmla="*/ 604804 h 6858000"/>
              <a:gd name="connsiteX42" fmla="*/ 11522463 w 12192000"/>
              <a:gd name="connsiteY42" fmla="*/ 603397 h 6858000"/>
              <a:gd name="connsiteX43" fmla="*/ 11521055 w 12192000"/>
              <a:gd name="connsiteY43" fmla="*/ 600582 h 6858000"/>
              <a:gd name="connsiteX44" fmla="*/ 11522463 w 12192000"/>
              <a:gd name="connsiteY44" fmla="*/ 593545 h 6858000"/>
              <a:gd name="connsiteX45" fmla="*/ 11523870 w 12192000"/>
              <a:gd name="connsiteY45" fmla="*/ 573836 h 6858000"/>
              <a:gd name="connsiteX46" fmla="*/ 11511200 w 12192000"/>
              <a:gd name="connsiteY46" fmla="*/ 551315 h 6858000"/>
              <a:gd name="connsiteX47" fmla="*/ 11506978 w 12192000"/>
              <a:gd name="connsiteY47" fmla="*/ 549907 h 6858000"/>
              <a:gd name="connsiteX48" fmla="*/ 11505571 w 12192000"/>
              <a:gd name="connsiteY48" fmla="*/ 555537 h 6858000"/>
              <a:gd name="connsiteX49" fmla="*/ 11480234 w 12192000"/>
              <a:gd name="connsiteY49" fmla="*/ 589321 h 6858000"/>
              <a:gd name="connsiteX50" fmla="*/ 11471788 w 12192000"/>
              <a:gd name="connsiteY50" fmla="*/ 589321 h 6858000"/>
              <a:gd name="connsiteX51" fmla="*/ 11466157 w 12192000"/>
              <a:gd name="connsiteY51" fmla="*/ 589321 h 6858000"/>
              <a:gd name="connsiteX52" fmla="*/ 11463342 w 12192000"/>
              <a:gd name="connsiteY52" fmla="*/ 589321 h 6858000"/>
              <a:gd name="connsiteX53" fmla="*/ 11457711 w 12192000"/>
              <a:gd name="connsiteY53" fmla="*/ 589321 h 6858000"/>
              <a:gd name="connsiteX54" fmla="*/ 11449266 w 12192000"/>
              <a:gd name="connsiteY54" fmla="*/ 590728 h 6858000"/>
              <a:gd name="connsiteX55" fmla="*/ 11429558 w 12192000"/>
              <a:gd name="connsiteY55" fmla="*/ 610435 h 6858000"/>
              <a:gd name="connsiteX56" fmla="*/ 11429558 w 12192000"/>
              <a:gd name="connsiteY56" fmla="*/ 613250 h 6858000"/>
              <a:gd name="connsiteX57" fmla="*/ 11426743 w 12192000"/>
              <a:gd name="connsiteY57" fmla="*/ 617474 h 6858000"/>
              <a:gd name="connsiteX58" fmla="*/ 11415482 w 12192000"/>
              <a:gd name="connsiteY58" fmla="*/ 618881 h 6858000"/>
              <a:gd name="connsiteX59" fmla="*/ 11373254 w 12192000"/>
              <a:gd name="connsiteY59" fmla="*/ 607619 h 6858000"/>
              <a:gd name="connsiteX60" fmla="*/ 11370439 w 12192000"/>
              <a:gd name="connsiteY60" fmla="*/ 606213 h 6858000"/>
              <a:gd name="connsiteX61" fmla="*/ 11369031 w 12192000"/>
              <a:gd name="connsiteY61" fmla="*/ 607619 h 6858000"/>
              <a:gd name="connsiteX62" fmla="*/ 11357769 w 12192000"/>
              <a:gd name="connsiteY62" fmla="*/ 637181 h 6858000"/>
              <a:gd name="connsiteX63" fmla="*/ 11377476 w 12192000"/>
              <a:gd name="connsiteY63" fmla="*/ 673778 h 6858000"/>
              <a:gd name="connsiteX64" fmla="*/ 11384514 w 12192000"/>
              <a:gd name="connsiteY64" fmla="*/ 678002 h 6858000"/>
              <a:gd name="connsiteX65" fmla="*/ 11384514 w 12192000"/>
              <a:gd name="connsiteY65" fmla="*/ 675186 h 6858000"/>
              <a:gd name="connsiteX66" fmla="*/ 11387331 w 12192000"/>
              <a:gd name="connsiteY66" fmla="*/ 665332 h 6858000"/>
              <a:gd name="connsiteX67" fmla="*/ 11405629 w 12192000"/>
              <a:gd name="connsiteY67" fmla="*/ 661110 h 6858000"/>
              <a:gd name="connsiteX68" fmla="*/ 11407036 w 12192000"/>
              <a:gd name="connsiteY68" fmla="*/ 662517 h 6858000"/>
              <a:gd name="connsiteX69" fmla="*/ 11419706 w 12192000"/>
              <a:gd name="connsiteY69" fmla="*/ 666741 h 6858000"/>
              <a:gd name="connsiteX70" fmla="*/ 11432374 w 12192000"/>
              <a:gd name="connsiteY70" fmla="*/ 662517 h 6858000"/>
              <a:gd name="connsiteX71" fmla="*/ 11450674 w 12192000"/>
              <a:gd name="connsiteY71" fmla="*/ 662517 h 6858000"/>
              <a:gd name="connsiteX72" fmla="*/ 11453489 w 12192000"/>
              <a:gd name="connsiteY72" fmla="*/ 678002 h 6858000"/>
              <a:gd name="connsiteX73" fmla="*/ 11453489 w 12192000"/>
              <a:gd name="connsiteY73" fmla="*/ 679408 h 6858000"/>
              <a:gd name="connsiteX74" fmla="*/ 11452081 w 12192000"/>
              <a:gd name="connsiteY74" fmla="*/ 679408 h 6858000"/>
              <a:gd name="connsiteX75" fmla="*/ 11418297 w 12192000"/>
              <a:gd name="connsiteY75" fmla="*/ 676593 h 6858000"/>
              <a:gd name="connsiteX76" fmla="*/ 11398590 w 12192000"/>
              <a:gd name="connsiteY76" fmla="*/ 685039 h 6858000"/>
              <a:gd name="connsiteX77" fmla="*/ 11364808 w 12192000"/>
              <a:gd name="connsiteY77" fmla="*/ 692078 h 6858000"/>
              <a:gd name="connsiteX78" fmla="*/ 11343693 w 12192000"/>
              <a:gd name="connsiteY78" fmla="*/ 672371 h 6858000"/>
              <a:gd name="connsiteX79" fmla="*/ 11342286 w 12192000"/>
              <a:gd name="connsiteY79" fmla="*/ 669556 h 6858000"/>
              <a:gd name="connsiteX80" fmla="*/ 11340878 w 12192000"/>
              <a:gd name="connsiteY80" fmla="*/ 673778 h 6858000"/>
              <a:gd name="connsiteX81" fmla="*/ 11349323 w 12192000"/>
              <a:gd name="connsiteY81" fmla="*/ 707561 h 6858000"/>
              <a:gd name="connsiteX82" fmla="*/ 11390146 w 12192000"/>
              <a:gd name="connsiteY82" fmla="*/ 713192 h 6858000"/>
              <a:gd name="connsiteX83" fmla="*/ 11391553 w 12192000"/>
              <a:gd name="connsiteY83" fmla="*/ 711785 h 6858000"/>
              <a:gd name="connsiteX84" fmla="*/ 11391553 w 12192000"/>
              <a:gd name="connsiteY84" fmla="*/ 713192 h 6858000"/>
              <a:gd name="connsiteX85" fmla="*/ 11395775 w 12192000"/>
              <a:gd name="connsiteY85" fmla="*/ 727269 h 6858000"/>
              <a:gd name="connsiteX86" fmla="*/ 11414075 w 12192000"/>
              <a:gd name="connsiteY86" fmla="*/ 739936 h 6858000"/>
              <a:gd name="connsiteX87" fmla="*/ 11436598 w 12192000"/>
              <a:gd name="connsiteY87" fmla="*/ 730084 h 6858000"/>
              <a:gd name="connsiteX88" fmla="*/ 11484456 w 12192000"/>
              <a:gd name="connsiteY88" fmla="*/ 713192 h 6858000"/>
              <a:gd name="connsiteX89" fmla="*/ 11552023 w 12192000"/>
              <a:gd name="connsiteY89" fmla="*/ 786388 h 6858000"/>
              <a:gd name="connsiteX90" fmla="*/ 11557654 w 12192000"/>
              <a:gd name="connsiteY90" fmla="*/ 796242 h 6858000"/>
              <a:gd name="connsiteX91" fmla="*/ 11557654 w 12192000"/>
              <a:gd name="connsiteY91" fmla="*/ 797649 h 6858000"/>
              <a:gd name="connsiteX92" fmla="*/ 11563284 w 12192000"/>
              <a:gd name="connsiteY92" fmla="*/ 801873 h 6858000"/>
              <a:gd name="connsiteX93" fmla="*/ 11566099 w 12192000"/>
              <a:gd name="connsiteY93" fmla="*/ 797649 h 6858000"/>
              <a:gd name="connsiteX94" fmla="*/ 11595659 w 12192000"/>
              <a:gd name="connsiteY94" fmla="*/ 758237 h 6858000"/>
              <a:gd name="connsiteX95" fmla="*/ 11622404 w 12192000"/>
              <a:gd name="connsiteY95" fmla="*/ 754013 h 6858000"/>
              <a:gd name="connsiteX96" fmla="*/ 11625219 w 12192000"/>
              <a:gd name="connsiteY96" fmla="*/ 754013 h 6858000"/>
              <a:gd name="connsiteX97" fmla="*/ 11650556 w 12192000"/>
              <a:gd name="connsiteY97" fmla="*/ 744160 h 6858000"/>
              <a:gd name="connsiteX98" fmla="*/ 11718122 w 12192000"/>
              <a:gd name="connsiteY98" fmla="*/ 718823 h 6858000"/>
              <a:gd name="connsiteX99" fmla="*/ 11727976 w 12192000"/>
              <a:gd name="connsiteY99" fmla="*/ 721638 h 6858000"/>
              <a:gd name="connsiteX100" fmla="*/ 11725161 w 12192000"/>
              <a:gd name="connsiteY100" fmla="*/ 728675 h 6858000"/>
              <a:gd name="connsiteX101" fmla="*/ 11720939 w 12192000"/>
              <a:gd name="connsiteY101" fmla="*/ 730084 h 6858000"/>
              <a:gd name="connsiteX102" fmla="*/ 11639295 w 12192000"/>
              <a:gd name="connsiteY102" fmla="*/ 789205 h 6858000"/>
              <a:gd name="connsiteX103" fmla="*/ 11636480 w 12192000"/>
              <a:gd name="connsiteY103" fmla="*/ 810319 h 6858000"/>
              <a:gd name="connsiteX104" fmla="*/ 11636480 w 12192000"/>
              <a:gd name="connsiteY104" fmla="*/ 820172 h 6858000"/>
              <a:gd name="connsiteX105" fmla="*/ 11609736 w 12192000"/>
              <a:gd name="connsiteY105" fmla="*/ 886330 h 6858000"/>
              <a:gd name="connsiteX106" fmla="*/ 11582989 w 12192000"/>
              <a:gd name="connsiteY106" fmla="*/ 908852 h 6858000"/>
              <a:gd name="connsiteX107" fmla="*/ 11577361 w 12192000"/>
              <a:gd name="connsiteY107" fmla="*/ 914483 h 6858000"/>
              <a:gd name="connsiteX108" fmla="*/ 11571730 w 12192000"/>
              <a:gd name="connsiteY108" fmla="*/ 921520 h 6858000"/>
              <a:gd name="connsiteX109" fmla="*/ 11544984 w 12192000"/>
              <a:gd name="connsiteY109" fmla="*/ 951082 h 6858000"/>
              <a:gd name="connsiteX110" fmla="*/ 11518239 w 12192000"/>
              <a:gd name="connsiteY110" fmla="*/ 969380 h 6858000"/>
              <a:gd name="connsiteX111" fmla="*/ 11516833 w 12192000"/>
              <a:gd name="connsiteY111" fmla="*/ 969380 h 6858000"/>
              <a:gd name="connsiteX112" fmla="*/ 11515424 w 12192000"/>
              <a:gd name="connsiteY112" fmla="*/ 967974 h 6858000"/>
              <a:gd name="connsiteX113" fmla="*/ 11529501 w 12192000"/>
              <a:gd name="connsiteY113" fmla="*/ 946858 h 6858000"/>
              <a:gd name="connsiteX114" fmla="*/ 11543577 w 12192000"/>
              <a:gd name="connsiteY114" fmla="*/ 927151 h 6858000"/>
              <a:gd name="connsiteX115" fmla="*/ 11529501 w 12192000"/>
              <a:gd name="connsiteY115" fmla="*/ 932781 h 6858000"/>
              <a:gd name="connsiteX116" fmla="*/ 11515424 w 12192000"/>
              <a:gd name="connsiteY116" fmla="*/ 939821 h 6858000"/>
              <a:gd name="connsiteX117" fmla="*/ 11447857 w 12192000"/>
              <a:gd name="connsiteY117" fmla="*/ 958119 h 6858000"/>
              <a:gd name="connsiteX118" fmla="*/ 11447857 w 12192000"/>
              <a:gd name="connsiteY118" fmla="*/ 955304 h 6858000"/>
              <a:gd name="connsiteX119" fmla="*/ 11467564 w 12192000"/>
              <a:gd name="connsiteY119" fmla="*/ 942636 h 6858000"/>
              <a:gd name="connsiteX120" fmla="*/ 11528092 w 12192000"/>
              <a:gd name="connsiteY120" fmla="*/ 893369 h 6858000"/>
              <a:gd name="connsiteX121" fmla="*/ 11491495 w 12192000"/>
              <a:gd name="connsiteY121" fmla="*/ 866623 h 6858000"/>
              <a:gd name="connsiteX122" fmla="*/ 11430967 w 12192000"/>
              <a:gd name="connsiteY122" fmla="*/ 801873 h 6858000"/>
              <a:gd name="connsiteX123" fmla="*/ 11316948 w 12192000"/>
              <a:gd name="connsiteY123" fmla="*/ 856770 h 6858000"/>
              <a:gd name="connsiteX124" fmla="*/ 11288796 w 12192000"/>
              <a:gd name="connsiteY124" fmla="*/ 749791 h 6858000"/>
              <a:gd name="connsiteX125" fmla="*/ 11508387 w 12192000"/>
              <a:gd name="connsiteY125" fmla="*/ 530201 h 6858000"/>
              <a:gd name="connsiteX126" fmla="*/ 11509794 w 12192000"/>
              <a:gd name="connsiteY126" fmla="*/ 511901 h 6858000"/>
              <a:gd name="connsiteX127" fmla="*/ 11270497 w 12192000"/>
              <a:gd name="connsiteY127" fmla="*/ 751198 h 6858000"/>
              <a:gd name="connsiteX128" fmla="*/ 11509794 w 12192000"/>
              <a:gd name="connsiteY128" fmla="*/ 990494 h 6858000"/>
              <a:gd name="connsiteX129" fmla="*/ 11749090 w 12192000"/>
              <a:gd name="connsiteY129" fmla="*/ 751198 h 6858000"/>
              <a:gd name="connsiteX130" fmla="*/ 11509794 w 12192000"/>
              <a:gd name="connsiteY130" fmla="*/ 511901 h 6858000"/>
              <a:gd name="connsiteX131" fmla="*/ 0 w 12192000"/>
              <a:gd name="connsiteY131" fmla="*/ 0 h 6858000"/>
              <a:gd name="connsiteX132" fmla="*/ 12192000 w 12192000"/>
              <a:gd name="connsiteY132" fmla="*/ 0 h 6858000"/>
              <a:gd name="connsiteX133" fmla="*/ 12192000 w 12192000"/>
              <a:gd name="connsiteY133" fmla="*/ 6858000 h 6858000"/>
              <a:gd name="connsiteX134" fmla="*/ 0 w 12192000"/>
              <a:gd name="connsiteY13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</a:cxnLst>
            <a:rect l="l" t="t" r="r" b="b"/>
            <a:pathLst>
              <a:path w="12192000" h="6858000">
                <a:moveTo>
                  <a:pt x="11616773" y="766683"/>
                </a:moveTo>
                <a:cubicBezTo>
                  <a:pt x="11611142" y="766683"/>
                  <a:pt x="11606920" y="770905"/>
                  <a:pt x="11606920" y="776535"/>
                </a:cubicBezTo>
                <a:cubicBezTo>
                  <a:pt x="11606920" y="782166"/>
                  <a:pt x="11611142" y="786388"/>
                  <a:pt x="11616773" y="786388"/>
                </a:cubicBezTo>
                <a:cubicBezTo>
                  <a:pt x="11622404" y="784981"/>
                  <a:pt x="11626627" y="780759"/>
                  <a:pt x="11626627" y="776535"/>
                </a:cubicBezTo>
                <a:cubicBezTo>
                  <a:pt x="11626627" y="770905"/>
                  <a:pt x="11622404" y="766683"/>
                  <a:pt x="11616773" y="766683"/>
                </a:cubicBezTo>
                <a:close/>
                <a:moveTo>
                  <a:pt x="11435366" y="690142"/>
                </a:moveTo>
                <a:cubicBezTo>
                  <a:pt x="11440820" y="689262"/>
                  <a:pt x="11445747" y="689966"/>
                  <a:pt x="11450674" y="692078"/>
                </a:cubicBezTo>
                <a:lnTo>
                  <a:pt x="11452081" y="692078"/>
                </a:lnTo>
                <a:cubicBezTo>
                  <a:pt x="11452081" y="692078"/>
                  <a:pt x="11452081" y="693485"/>
                  <a:pt x="11450674" y="693485"/>
                </a:cubicBezTo>
                <a:cubicBezTo>
                  <a:pt x="11447857" y="699116"/>
                  <a:pt x="11442228" y="706155"/>
                  <a:pt x="11430967" y="710377"/>
                </a:cubicBezTo>
                <a:cubicBezTo>
                  <a:pt x="11423928" y="713192"/>
                  <a:pt x="11419706" y="714599"/>
                  <a:pt x="11414075" y="714599"/>
                </a:cubicBezTo>
                <a:cubicBezTo>
                  <a:pt x="11407036" y="714599"/>
                  <a:pt x="11401406" y="713192"/>
                  <a:pt x="11399999" y="711785"/>
                </a:cubicBezTo>
                <a:cubicBezTo>
                  <a:pt x="11399999" y="711785"/>
                  <a:pt x="11407036" y="704746"/>
                  <a:pt x="11416891" y="697709"/>
                </a:cubicBezTo>
                <a:cubicBezTo>
                  <a:pt x="11423929" y="693486"/>
                  <a:pt x="11429911" y="691022"/>
                  <a:pt x="11435366" y="690142"/>
                </a:cubicBezTo>
                <a:close/>
                <a:moveTo>
                  <a:pt x="11461934" y="609028"/>
                </a:moveTo>
                <a:cubicBezTo>
                  <a:pt x="11468973" y="609028"/>
                  <a:pt x="11474603" y="613250"/>
                  <a:pt x="11474603" y="618881"/>
                </a:cubicBezTo>
                <a:cubicBezTo>
                  <a:pt x="11474603" y="624511"/>
                  <a:pt x="11468973" y="628735"/>
                  <a:pt x="11461934" y="628735"/>
                </a:cubicBezTo>
                <a:cubicBezTo>
                  <a:pt x="11454896" y="628735"/>
                  <a:pt x="11449266" y="624511"/>
                  <a:pt x="11449266" y="618881"/>
                </a:cubicBezTo>
                <a:cubicBezTo>
                  <a:pt x="11449266" y="613250"/>
                  <a:pt x="11454896" y="609028"/>
                  <a:pt x="11461934" y="609028"/>
                </a:cubicBezTo>
                <a:close/>
                <a:moveTo>
                  <a:pt x="11508387" y="530201"/>
                </a:moveTo>
                <a:cubicBezTo>
                  <a:pt x="11574544" y="530201"/>
                  <a:pt x="11633665" y="559761"/>
                  <a:pt x="11674486" y="606213"/>
                </a:cubicBezTo>
                <a:cubicBezTo>
                  <a:pt x="11699823" y="638588"/>
                  <a:pt x="11695601" y="665332"/>
                  <a:pt x="11678709" y="679408"/>
                </a:cubicBezTo>
                <a:cubicBezTo>
                  <a:pt x="11657596" y="694893"/>
                  <a:pt x="11629443" y="689263"/>
                  <a:pt x="11625219" y="676593"/>
                </a:cubicBezTo>
                <a:cubicBezTo>
                  <a:pt x="11623812" y="669556"/>
                  <a:pt x="11629443" y="666741"/>
                  <a:pt x="11629443" y="666741"/>
                </a:cubicBezTo>
                <a:cubicBezTo>
                  <a:pt x="11630849" y="665332"/>
                  <a:pt x="11633665" y="665332"/>
                  <a:pt x="11636480" y="665332"/>
                </a:cubicBezTo>
                <a:cubicBezTo>
                  <a:pt x="11640704" y="665332"/>
                  <a:pt x="11640704" y="662517"/>
                  <a:pt x="11637888" y="661110"/>
                </a:cubicBezTo>
                <a:cubicBezTo>
                  <a:pt x="11633665" y="658295"/>
                  <a:pt x="11626627" y="655479"/>
                  <a:pt x="11620997" y="655479"/>
                </a:cubicBezTo>
                <a:cubicBezTo>
                  <a:pt x="11612551" y="655479"/>
                  <a:pt x="11599881" y="656888"/>
                  <a:pt x="11599881" y="656888"/>
                </a:cubicBezTo>
                <a:cubicBezTo>
                  <a:pt x="11597066" y="656888"/>
                  <a:pt x="11594252" y="655479"/>
                  <a:pt x="11591435" y="654071"/>
                </a:cubicBezTo>
                <a:cubicBezTo>
                  <a:pt x="11590028" y="652664"/>
                  <a:pt x="11588620" y="651256"/>
                  <a:pt x="11588620" y="649849"/>
                </a:cubicBezTo>
                <a:cubicBezTo>
                  <a:pt x="11587213" y="642811"/>
                  <a:pt x="11591435" y="641403"/>
                  <a:pt x="11591435" y="641403"/>
                </a:cubicBezTo>
                <a:cubicBezTo>
                  <a:pt x="11592844" y="639996"/>
                  <a:pt x="11597066" y="638588"/>
                  <a:pt x="11599881" y="639996"/>
                </a:cubicBezTo>
                <a:cubicBezTo>
                  <a:pt x="11604105" y="639996"/>
                  <a:pt x="11604105" y="637181"/>
                  <a:pt x="11601290" y="635772"/>
                </a:cubicBezTo>
                <a:cubicBezTo>
                  <a:pt x="11597066" y="632957"/>
                  <a:pt x="11590028" y="630142"/>
                  <a:pt x="11584398" y="630142"/>
                </a:cubicBezTo>
                <a:cubicBezTo>
                  <a:pt x="11575952" y="630142"/>
                  <a:pt x="11563284" y="631550"/>
                  <a:pt x="11563284" y="631550"/>
                </a:cubicBezTo>
                <a:cubicBezTo>
                  <a:pt x="11560469" y="631550"/>
                  <a:pt x="11557654" y="630142"/>
                  <a:pt x="11554838" y="628735"/>
                </a:cubicBezTo>
                <a:cubicBezTo>
                  <a:pt x="11553430" y="627326"/>
                  <a:pt x="11552023" y="625920"/>
                  <a:pt x="11552023" y="624511"/>
                </a:cubicBezTo>
                <a:cubicBezTo>
                  <a:pt x="11550614" y="617474"/>
                  <a:pt x="11554838" y="614659"/>
                  <a:pt x="11554838" y="614659"/>
                </a:cubicBezTo>
                <a:cubicBezTo>
                  <a:pt x="11556245" y="613250"/>
                  <a:pt x="11559060" y="611843"/>
                  <a:pt x="11563284" y="613250"/>
                </a:cubicBezTo>
                <a:cubicBezTo>
                  <a:pt x="11567506" y="613250"/>
                  <a:pt x="11567506" y="610435"/>
                  <a:pt x="11564691" y="609028"/>
                </a:cubicBezTo>
                <a:cubicBezTo>
                  <a:pt x="11560469" y="606213"/>
                  <a:pt x="11553430" y="603397"/>
                  <a:pt x="11547799" y="603397"/>
                </a:cubicBezTo>
                <a:cubicBezTo>
                  <a:pt x="11539353" y="603397"/>
                  <a:pt x="11526685" y="604804"/>
                  <a:pt x="11526685" y="604804"/>
                </a:cubicBezTo>
                <a:cubicBezTo>
                  <a:pt x="11525277" y="604804"/>
                  <a:pt x="11522463" y="604804"/>
                  <a:pt x="11522463" y="603397"/>
                </a:cubicBezTo>
                <a:cubicBezTo>
                  <a:pt x="11521055" y="601989"/>
                  <a:pt x="11521055" y="601989"/>
                  <a:pt x="11521055" y="600582"/>
                </a:cubicBezTo>
                <a:cubicBezTo>
                  <a:pt x="11521055" y="599174"/>
                  <a:pt x="11521055" y="596358"/>
                  <a:pt x="11522463" y="593545"/>
                </a:cubicBezTo>
                <a:cubicBezTo>
                  <a:pt x="11523870" y="587912"/>
                  <a:pt x="11525277" y="582282"/>
                  <a:pt x="11523870" y="573836"/>
                </a:cubicBezTo>
                <a:cubicBezTo>
                  <a:pt x="11522463" y="558353"/>
                  <a:pt x="11514017" y="552722"/>
                  <a:pt x="11511200" y="551315"/>
                </a:cubicBezTo>
                <a:cubicBezTo>
                  <a:pt x="11508387" y="549907"/>
                  <a:pt x="11506978" y="549907"/>
                  <a:pt x="11506978" y="549907"/>
                </a:cubicBezTo>
                <a:cubicBezTo>
                  <a:pt x="11506978" y="549907"/>
                  <a:pt x="11505571" y="552722"/>
                  <a:pt x="11505571" y="555537"/>
                </a:cubicBezTo>
                <a:cubicBezTo>
                  <a:pt x="11504163" y="566799"/>
                  <a:pt x="11502756" y="589321"/>
                  <a:pt x="11480234" y="589321"/>
                </a:cubicBezTo>
                <a:cubicBezTo>
                  <a:pt x="11477418" y="589321"/>
                  <a:pt x="11474603" y="589321"/>
                  <a:pt x="11471788" y="589321"/>
                </a:cubicBezTo>
                <a:cubicBezTo>
                  <a:pt x="11470379" y="589321"/>
                  <a:pt x="11467564" y="589321"/>
                  <a:pt x="11466157" y="589321"/>
                </a:cubicBezTo>
                <a:cubicBezTo>
                  <a:pt x="11464749" y="589321"/>
                  <a:pt x="11464749" y="589321"/>
                  <a:pt x="11463342" y="589321"/>
                </a:cubicBezTo>
                <a:cubicBezTo>
                  <a:pt x="11461934" y="589321"/>
                  <a:pt x="11459120" y="589321"/>
                  <a:pt x="11457711" y="589321"/>
                </a:cubicBezTo>
                <a:cubicBezTo>
                  <a:pt x="11454896" y="589321"/>
                  <a:pt x="11452081" y="589321"/>
                  <a:pt x="11449266" y="590728"/>
                </a:cubicBezTo>
                <a:cubicBezTo>
                  <a:pt x="11438004" y="593545"/>
                  <a:pt x="11430967" y="600582"/>
                  <a:pt x="11429558" y="610435"/>
                </a:cubicBezTo>
                <a:cubicBezTo>
                  <a:pt x="11429558" y="611843"/>
                  <a:pt x="11429558" y="611843"/>
                  <a:pt x="11429558" y="613250"/>
                </a:cubicBezTo>
                <a:cubicBezTo>
                  <a:pt x="11429558" y="614659"/>
                  <a:pt x="11429558" y="617474"/>
                  <a:pt x="11426743" y="617474"/>
                </a:cubicBezTo>
                <a:cubicBezTo>
                  <a:pt x="11426743" y="617474"/>
                  <a:pt x="11422521" y="618881"/>
                  <a:pt x="11415482" y="618881"/>
                </a:cubicBezTo>
                <a:cubicBezTo>
                  <a:pt x="11390146" y="621696"/>
                  <a:pt x="11380292" y="611843"/>
                  <a:pt x="11373254" y="607619"/>
                </a:cubicBezTo>
                <a:cubicBezTo>
                  <a:pt x="11371846" y="607619"/>
                  <a:pt x="11370439" y="606213"/>
                  <a:pt x="11370439" y="606213"/>
                </a:cubicBezTo>
                <a:cubicBezTo>
                  <a:pt x="11370439" y="606213"/>
                  <a:pt x="11370439" y="606213"/>
                  <a:pt x="11369031" y="607619"/>
                </a:cubicBezTo>
                <a:cubicBezTo>
                  <a:pt x="11364808" y="611843"/>
                  <a:pt x="11357769" y="624511"/>
                  <a:pt x="11357769" y="637181"/>
                </a:cubicBezTo>
                <a:cubicBezTo>
                  <a:pt x="11359178" y="658295"/>
                  <a:pt x="11373254" y="670963"/>
                  <a:pt x="11377476" y="673778"/>
                </a:cubicBezTo>
                <a:cubicBezTo>
                  <a:pt x="11381700" y="676593"/>
                  <a:pt x="11384514" y="678002"/>
                  <a:pt x="11384514" y="678002"/>
                </a:cubicBezTo>
                <a:cubicBezTo>
                  <a:pt x="11384514" y="678002"/>
                  <a:pt x="11384514" y="676593"/>
                  <a:pt x="11384514" y="675186"/>
                </a:cubicBezTo>
                <a:cubicBezTo>
                  <a:pt x="11384514" y="672371"/>
                  <a:pt x="11384514" y="669556"/>
                  <a:pt x="11387331" y="665332"/>
                </a:cubicBezTo>
                <a:cubicBezTo>
                  <a:pt x="11392960" y="655479"/>
                  <a:pt x="11401406" y="659701"/>
                  <a:pt x="11405629" y="661110"/>
                </a:cubicBezTo>
                <a:cubicBezTo>
                  <a:pt x="11407036" y="661110"/>
                  <a:pt x="11407036" y="661110"/>
                  <a:pt x="11407036" y="662517"/>
                </a:cubicBezTo>
                <a:cubicBezTo>
                  <a:pt x="11411260" y="663925"/>
                  <a:pt x="11415482" y="666741"/>
                  <a:pt x="11419706" y="666741"/>
                </a:cubicBezTo>
                <a:cubicBezTo>
                  <a:pt x="11423928" y="666741"/>
                  <a:pt x="11429558" y="663925"/>
                  <a:pt x="11432374" y="662517"/>
                </a:cubicBezTo>
                <a:cubicBezTo>
                  <a:pt x="11439413" y="659701"/>
                  <a:pt x="11446450" y="658295"/>
                  <a:pt x="11450674" y="662517"/>
                </a:cubicBezTo>
                <a:cubicBezTo>
                  <a:pt x="11454896" y="666741"/>
                  <a:pt x="11453489" y="676593"/>
                  <a:pt x="11453489" y="678002"/>
                </a:cubicBezTo>
                <a:lnTo>
                  <a:pt x="11453489" y="679408"/>
                </a:lnTo>
                <a:lnTo>
                  <a:pt x="11452081" y="679408"/>
                </a:lnTo>
                <a:cubicBezTo>
                  <a:pt x="11436598" y="673778"/>
                  <a:pt x="11430967" y="675186"/>
                  <a:pt x="11418297" y="676593"/>
                </a:cubicBezTo>
                <a:cubicBezTo>
                  <a:pt x="11411260" y="678002"/>
                  <a:pt x="11404221" y="682224"/>
                  <a:pt x="11398590" y="685039"/>
                </a:cubicBezTo>
                <a:cubicBezTo>
                  <a:pt x="11385922" y="692078"/>
                  <a:pt x="11380292" y="697709"/>
                  <a:pt x="11364808" y="692078"/>
                </a:cubicBezTo>
                <a:cubicBezTo>
                  <a:pt x="11350732" y="686448"/>
                  <a:pt x="11346508" y="678002"/>
                  <a:pt x="11343693" y="672371"/>
                </a:cubicBezTo>
                <a:cubicBezTo>
                  <a:pt x="11342286" y="670963"/>
                  <a:pt x="11342286" y="669556"/>
                  <a:pt x="11342286" y="669556"/>
                </a:cubicBezTo>
                <a:cubicBezTo>
                  <a:pt x="11342286" y="669556"/>
                  <a:pt x="11340878" y="670963"/>
                  <a:pt x="11340878" y="673778"/>
                </a:cubicBezTo>
                <a:cubicBezTo>
                  <a:pt x="11338062" y="680817"/>
                  <a:pt x="11338062" y="694893"/>
                  <a:pt x="11349323" y="707561"/>
                </a:cubicBezTo>
                <a:cubicBezTo>
                  <a:pt x="11364808" y="725860"/>
                  <a:pt x="11380292" y="718823"/>
                  <a:pt x="11390146" y="713192"/>
                </a:cubicBezTo>
                <a:lnTo>
                  <a:pt x="11391553" y="711785"/>
                </a:lnTo>
                <a:lnTo>
                  <a:pt x="11391553" y="713192"/>
                </a:lnTo>
                <a:cubicBezTo>
                  <a:pt x="11391553" y="716007"/>
                  <a:pt x="11392960" y="721638"/>
                  <a:pt x="11395775" y="727269"/>
                </a:cubicBezTo>
                <a:cubicBezTo>
                  <a:pt x="11398590" y="732899"/>
                  <a:pt x="11405629" y="739936"/>
                  <a:pt x="11414075" y="739936"/>
                </a:cubicBezTo>
                <a:cubicBezTo>
                  <a:pt x="11419706" y="739936"/>
                  <a:pt x="11428152" y="735714"/>
                  <a:pt x="11436598" y="730084"/>
                </a:cubicBezTo>
                <a:cubicBezTo>
                  <a:pt x="11452081" y="721638"/>
                  <a:pt x="11464749" y="710377"/>
                  <a:pt x="11484456" y="713192"/>
                </a:cubicBezTo>
                <a:cubicBezTo>
                  <a:pt x="11515424" y="718823"/>
                  <a:pt x="11540762" y="765274"/>
                  <a:pt x="11552023" y="786388"/>
                </a:cubicBezTo>
                <a:cubicBezTo>
                  <a:pt x="11554838" y="790612"/>
                  <a:pt x="11556245" y="794834"/>
                  <a:pt x="11557654" y="796242"/>
                </a:cubicBezTo>
                <a:cubicBezTo>
                  <a:pt x="11557654" y="796242"/>
                  <a:pt x="11557654" y="796242"/>
                  <a:pt x="11557654" y="797649"/>
                </a:cubicBezTo>
                <a:cubicBezTo>
                  <a:pt x="11559060" y="799058"/>
                  <a:pt x="11561876" y="803280"/>
                  <a:pt x="11563284" y="801873"/>
                </a:cubicBezTo>
                <a:cubicBezTo>
                  <a:pt x="11566099" y="800464"/>
                  <a:pt x="11566099" y="797649"/>
                  <a:pt x="11566099" y="797649"/>
                </a:cubicBezTo>
                <a:cubicBezTo>
                  <a:pt x="11568915" y="772313"/>
                  <a:pt x="11585806" y="762459"/>
                  <a:pt x="11595659" y="758237"/>
                </a:cubicBezTo>
                <a:cubicBezTo>
                  <a:pt x="11605512" y="754013"/>
                  <a:pt x="11615366" y="754013"/>
                  <a:pt x="11622404" y="754013"/>
                </a:cubicBezTo>
                <a:cubicBezTo>
                  <a:pt x="11623812" y="754013"/>
                  <a:pt x="11623812" y="754013"/>
                  <a:pt x="11625219" y="754013"/>
                </a:cubicBezTo>
                <a:cubicBezTo>
                  <a:pt x="11630849" y="754013"/>
                  <a:pt x="11639295" y="749791"/>
                  <a:pt x="11650556" y="744160"/>
                </a:cubicBezTo>
                <a:cubicBezTo>
                  <a:pt x="11667448" y="735714"/>
                  <a:pt x="11689971" y="724453"/>
                  <a:pt x="11718122" y="718823"/>
                </a:cubicBezTo>
                <a:cubicBezTo>
                  <a:pt x="11725161" y="717414"/>
                  <a:pt x="11727976" y="718823"/>
                  <a:pt x="11727976" y="721638"/>
                </a:cubicBezTo>
                <a:cubicBezTo>
                  <a:pt x="11727976" y="723045"/>
                  <a:pt x="11727976" y="727269"/>
                  <a:pt x="11725161" y="728675"/>
                </a:cubicBezTo>
                <a:lnTo>
                  <a:pt x="11720939" y="730084"/>
                </a:lnTo>
                <a:cubicBezTo>
                  <a:pt x="11692786" y="742752"/>
                  <a:pt x="11649150" y="758237"/>
                  <a:pt x="11639295" y="789205"/>
                </a:cubicBezTo>
                <a:cubicBezTo>
                  <a:pt x="11636480" y="794834"/>
                  <a:pt x="11636480" y="801873"/>
                  <a:pt x="11636480" y="810319"/>
                </a:cubicBezTo>
                <a:cubicBezTo>
                  <a:pt x="11636480" y="813134"/>
                  <a:pt x="11636480" y="815949"/>
                  <a:pt x="11636480" y="820172"/>
                </a:cubicBezTo>
                <a:cubicBezTo>
                  <a:pt x="11636480" y="855362"/>
                  <a:pt x="11619588" y="876477"/>
                  <a:pt x="11609736" y="886330"/>
                </a:cubicBezTo>
                <a:cubicBezTo>
                  <a:pt x="11599881" y="896184"/>
                  <a:pt x="11590028" y="904628"/>
                  <a:pt x="11582989" y="908852"/>
                </a:cubicBezTo>
                <a:cubicBezTo>
                  <a:pt x="11580176" y="911668"/>
                  <a:pt x="11577361" y="913074"/>
                  <a:pt x="11577361" y="914483"/>
                </a:cubicBezTo>
                <a:cubicBezTo>
                  <a:pt x="11577361" y="914483"/>
                  <a:pt x="11574544" y="917298"/>
                  <a:pt x="11571730" y="921520"/>
                </a:cubicBezTo>
                <a:cubicBezTo>
                  <a:pt x="11564691" y="929966"/>
                  <a:pt x="11554838" y="942636"/>
                  <a:pt x="11544984" y="951082"/>
                </a:cubicBezTo>
                <a:cubicBezTo>
                  <a:pt x="11535131" y="960934"/>
                  <a:pt x="11522463" y="969380"/>
                  <a:pt x="11518239" y="969380"/>
                </a:cubicBezTo>
                <a:cubicBezTo>
                  <a:pt x="11516833" y="969380"/>
                  <a:pt x="11516833" y="969380"/>
                  <a:pt x="11516833" y="969380"/>
                </a:cubicBezTo>
                <a:cubicBezTo>
                  <a:pt x="11516833" y="969380"/>
                  <a:pt x="11515424" y="967974"/>
                  <a:pt x="11515424" y="967974"/>
                </a:cubicBezTo>
                <a:cubicBezTo>
                  <a:pt x="11515424" y="965158"/>
                  <a:pt x="11521055" y="958119"/>
                  <a:pt x="11529501" y="946858"/>
                </a:cubicBezTo>
                <a:cubicBezTo>
                  <a:pt x="11539353" y="935597"/>
                  <a:pt x="11543577" y="928559"/>
                  <a:pt x="11543577" y="927151"/>
                </a:cubicBezTo>
                <a:cubicBezTo>
                  <a:pt x="11542168" y="927151"/>
                  <a:pt x="11536538" y="929966"/>
                  <a:pt x="11529501" y="932781"/>
                </a:cubicBezTo>
                <a:cubicBezTo>
                  <a:pt x="11525277" y="934190"/>
                  <a:pt x="11521055" y="937005"/>
                  <a:pt x="11515424" y="939821"/>
                </a:cubicBezTo>
                <a:cubicBezTo>
                  <a:pt x="11495717" y="949673"/>
                  <a:pt x="11453489" y="963750"/>
                  <a:pt x="11447857" y="958119"/>
                </a:cubicBezTo>
                <a:cubicBezTo>
                  <a:pt x="11446450" y="956712"/>
                  <a:pt x="11446450" y="956712"/>
                  <a:pt x="11447857" y="955304"/>
                </a:cubicBezTo>
                <a:cubicBezTo>
                  <a:pt x="11447857" y="952489"/>
                  <a:pt x="11454896" y="949673"/>
                  <a:pt x="11467564" y="942636"/>
                </a:cubicBezTo>
                <a:cubicBezTo>
                  <a:pt x="11488680" y="932781"/>
                  <a:pt x="11521055" y="915891"/>
                  <a:pt x="11528092" y="893369"/>
                </a:cubicBezTo>
                <a:cubicBezTo>
                  <a:pt x="11523870" y="893369"/>
                  <a:pt x="11509794" y="893369"/>
                  <a:pt x="11491495" y="866623"/>
                </a:cubicBezTo>
                <a:cubicBezTo>
                  <a:pt x="11468973" y="832841"/>
                  <a:pt x="11456303" y="801873"/>
                  <a:pt x="11430967" y="801873"/>
                </a:cubicBezTo>
                <a:cubicBezTo>
                  <a:pt x="11401406" y="801873"/>
                  <a:pt x="11339471" y="842694"/>
                  <a:pt x="11316948" y="856770"/>
                </a:cubicBezTo>
                <a:cubicBezTo>
                  <a:pt x="11298650" y="824395"/>
                  <a:pt x="11288796" y="789205"/>
                  <a:pt x="11288796" y="749791"/>
                </a:cubicBezTo>
                <a:cubicBezTo>
                  <a:pt x="11288796" y="628735"/>
                  <a:pt x="11387331" y="530201"/>
                  <a:pt x="11508387" y="530201"/>
                </a:cubicBezTo>
                <a:close/>
                <a:moveTo>
                  <a:pt x="11509794" y="511901"/>
                </a:moveTo>
                <a:cubicBezTo>
                  <a:pt x="11377476" y="511901"/>
                  <a:pt x="11270497" y="618881"/>
                  <a:pt x="11270497" y="751198"/>
                </a:cubicBezTo>
                <a:cubicBezTo>
                  <a:pt x="11270497" y="883515"/>
                  <a:pt x="11377476" y="990494"/>
                  <a:pt x="11509794" y="990494"/>
                </a:cubicBezTo>
                <a:cubicBezTo>
                  <a:pt x="11642111" y="990494"/>
                  <a:pt x="11749090" y="883515"/>
                  <a:pt x="11749090" y="751198"/>
                </a:cubicBezTo>
                <a:cubicBezTo>
                  <a:pt x="11749090" y="618881"/>
                  <a:pt x="11642111" y="511901"/>
                  <a:pt x="11509794" y="511901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E740D4-1B25-4367-9B11-A14AE3B9F6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185" y="1888673"/>
            <a:ext cx="4131469" cy="277000"/>
          </a:xfrm>
        </p:spPr>
        <p:txBody>
          <a:bodyPr vert="horz"/>
          <a:lstStyle>
            <a:lvl1pPr>
              <a:defRPr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E3BB239-366F-4858-ABB1-18652B812EF3}"/>
              </a:ext>
            </a:extLst>
          </p:cNvPr>
          <p:cNvSpPr>
            <a:spLocks noGrp="1"/>
          </p:cNvSpPr>
          <p:nvPr>
            <p:ph type="subTitle" idx="18"/>
          </p:nvPr>
        </p:nvSpPr>
        <p:spPr>
          <a:xfrm>
            <a:off x="332185" y="2165672"/>
            <a:ext cx="4131469" cy="276999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800" b="0" i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225"/>
              </a:spcAft>
              <a:buNone/>
              <a:defRPr sz="1800" i="1">
                <a:solidFill>
                  <a:schemeClr val="accent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763867D3-8C0A-433F-BBA3-98012D4235EF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First name last name, date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22F9D86B-5791-41AD-BE4E-8AD68D212D8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8AD48C63-78A6-4D64-B839-4870EFEB9C1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DF2AB61E-E6EB-4008-A6EB-7B7B4CC0E6CE}"/>
              </a:ext>
            </a:extLst>
          </p:cNvPr>
          <p:cNvSpPr>
            <a:spLocks noGrp="1"/>
          </p:cNvSpPr>
          <p:nvPr>
            <p:ph type="body" sz="quarter" idx="22" hasCustomPrompt="1"/>
            <p:custDataLst>
              <p:tags r:id="rId3"/>
            </p:custDataLst>
          </p:nvPr>
        </p:nvSpPr>
        <p:spPr>
          <a:xfrm>
            <a:off x="6724036" y="4885343"/>
            <a:ext cx="1728839" cy="115416"/>
          </a:xfrm>
        </p:spPr>
        <p:txBody>
          <a:bodyPr/>
          <a:lstStyle>
            <a:lvl1pPr algn="r">
              <a:defRPr sz="750" b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Internal confidential  •  Copyright® 202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908313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840">
          <p15:clr>
            <a:srgbClr val="9FCC3B"/>
          </p15:clr>
        </p15:guide>
        <p15:guide id="2" orient="horz" pos="2160">
          <p15:clr>
            <a:srgbClr val="9FCC3B"/>
          </p15:clr>
        </p15:guide>
        <p15:guide id="3" pos="279">
          <p15:clr>
            <a:srgbClr val="9FCC3B"/>
          </p15:clr>
        </p15:guide>
        <p15:guide id="4" pos="7401">
          <p15:clr>
            <a:srgbClr val="9FCC3B"/>
          </p15:clr>
        </p15:guide>
        <p15:guide id="5" orient="horz" pos="4042">
          <p15:clr>
            <a:srgbClr val="9FCC3B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AE2E5F2-3758-4826-BEDE-603DE65642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943172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2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AE2E5F2-3758-4826-BEDE-603DE65642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CE740D4-1B25-4367-9B11-A14AE3B9F6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185" y="341295"/>
            <a:ext cx="7721963" cy="276999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2BB489-86A6-4D41-BFFD-2AD8081D3CC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A3C847-45D8-4A94-BABE-984A89E4E7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First name last name, da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7CDAAF-2AF2-4783-8DE4-27BC54426A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8AD48C63-78A6-4D64-B839-4870EFEB9C1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platzhalter 16">
            <a:extLst>
              <a:ext uri="{FF2B5EF4-FFF2-40B4-BE49-F238E27FC236}">
                <a16:creationId xmlns:a16="http://schemas.microsoft.com/office/drawing/2014/main" id="{578603F6-7C4F-4597-A4FD-FC0CC443EB50}"/>
              </a:ext>
            </a:extLst>
          </p:cNvPr>
          <p:cNvSpPr txBox="1">
            <a:spLocks/>
          </p:cNvSpPr>
          <p:nvPr/>
        </p:nvSpPr>
        <p:spPr bwMode="gray">
          <a:xfrm>
            <a:off x="332185" y="956104"/>
            <a:ext cx="287687" cy="216000"/>
          </a:xfrm>
          <a:prstGeom prst="rect">
            <a:avLst/>
          </a:prstGeom>
          <a:noFill/>
        </p:spPr>
        <p:txBody>
          <a:bodyPr vert="horz" lIns="0" tIns="108000" rIns="0" bIns="0" rtlCol="0" anchor="b">
            <a:no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783" rtl="0" eaLnBrk="1" latinLnBrk="0" hangingPunct="1">
              <a:lnSpc>
                <a:spcPct val="100000"/>
              </a:lnSpc>
              <a:spcBef>
                <a:spcPts val="288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—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A89BA3D-20C4-40CF-B2F3-C64E207836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2185" y="112940"/>
            <a:ext cx="7721963" cy="115416"/>
          </a:xfrm>
        </p:spPr>
        <p:txBody>
          <a:bodyPr>
            <a:spAutoFit/>
          </a:bodyPr>
          <a:lstStyle>
            <a:lvl1pPr>
              <a:defRPr sz="75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800" b="0" i="1">
                <a:solidFill>
                  <a:schemeClr val="accent1"/>
                </a:solidFill>
              </a:defRPr>
            </a:lvl2pPr>
            <a:lvl3pPr>
              <a:defRPr sz="1800" b="0" i="1">
                <a:solidFill>
                  <a:schemeClr val="accent1"/>
                </a:solidFill>
              </a:defRPr>
            </a:lvl3pPr>
            <a:lvl4pPr>
              <a:defRPr sz="1800" b="0" i="1">
                <a:solidFill>
                  <a:schemeClr val="accent1"/>
                </a:solidFill>
              </a:defRPr>
            </a:lvl4pPr>
            <a:lvl5pPr>
              <a:defRPr sz="18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C76313DE-8E9B-4FDA-9EB7-4F92A425C4BD}"/>
              </a:ext>
            </a:extLst>
          </p:cNvPr>
          <p:cNvSpPr>
            <a:spLocks noGrp="1"/>
          </p:cNvSpPr>
          <p:nvPr>
            <p:ph type="subTitle" idx="18"/>
          </p:nvPr>
        </p:nvSpPr>
        <p:spPr>
          <a:xfrm>
            <a:off x="332185" y="618295"/>
            <a:ext cx="7721963" cy="276999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800" b="0" i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225"/>
              </a:spcAft>
              <a:buNone/>
              <a:defRPr sz="1800" i="1">
                <a:solidFill>
                  <a:schemeClr val="accent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702831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840">
          <p15:clr>
            <a:srgbClr val="9FCC3B"/>
          </p15:clr>
        </p15:guide>
        <p15:guide id="2" orient="horz" pos="2591">
          <p15:clr>
            <a:srgbClr val="9FCC3B"/>
          </p15:clr>
        </p15:guide>
        <p15:guide id="4" pos="7401">
          <p15:clr>
            <a:srgbClr val="9FCC3B"/>
          </p15:clr>
        </p15:guide>
        <p15:guide id="5" pos="279">
          <p15:clr>
            <a:srgbClr val="9FCC3B"/>
          </p15:clr>
        </p15:guide>
        <p15:guide id="6" orient="horz" pos="1139">
          <p15:clr>
            <a:srgbClr val="9FCC3B"/>
          </p15:clr>
        </p15:guide>
        <p15:guide id="7" orient="horz" pos="4042">
          <p15:clr>
            <a:srgbClr val="9FCC3B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3B1B1D92-25DF-4B86-9C2C-79747C715D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178757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36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3B1B1D92-25DF-4B86-9C2C-79747C715D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6197477-25A0-4CF5-A586-3634BEE04D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185" y="341295"/>
            <a:ext cx="7721963" cy="276999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651BF97-69EC-4ABC-AA29-F457C6537C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First name last name, dat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FE869CC-0039-4AB8-A3D2-F3516C49AC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8AD48C63-78A6-4D64-B839-4870EFEB9C1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16">
            <a:extLst>
              <a:ext uri="{FF2B5EF4-FFF2-40B4-BE49-F238E27FC236}">
                <a16:creationId xmlns:a16="http://schemas.microsoft.com/office/drawing/2014/main" id="{024560B0-E150-49B5-82F2-8333181ABC9B}"/>
              </a:ext>
            </a:extLst>
          </p:cNvPr>
          <p:cNvSpPr txBox="1">
            <a:spLocks/>
          </p:cNvSpPr>
          <p:nvPr/>
        </p:nvSpPr>
        <p:spPr bwMode="gray">
          <a:xfrm>
            <a:off x="332185" y="956104"/>
            <a:ext cx="287687" cy="216000"/>
          </a:xfrm>
          <a:prstGeom prst="rect">
            <a:avLst/>
          </a:prstGeom>
          <a:noFill/>
        </p:spPr>
        <p:txBody>
          <a:bodyPr vert="horz" lIns="0" tIns="108000" rIns="0" bIns="0" rtlCol="0" anchor="b">
            <a:no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783" rtl="0" eaLnBrk="1" latinLnBrk="0" hangingPunct="1">
              <a:lnSpc>
                <a:spcPct val="100000"/>
              </a:lnSpc>
              <a:spcBef>
                <a:spcPts val="288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—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98EDBD-E58E-4509-A991-4CCFDAE0BB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2185" y="112940"/>
            <a:ext cx="7721963" cy="115416"/>
          </a:xfrm>
        </p:spPr>
        <p:txBody>
          <a:bodyPr>
            <a:spAutoFit/>
          </a:bodyPr>
          <a:lstStyle>
            <a:lvl1pPr>
              <a:defRPr sz="75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800" b="0" i="1">
                <a:solidFill>
                  <a:schemeClr val="accent1"/>
                </a:solidFill>
              </a:defRPr>
            </a:lvl2pPr>
            <a:lvl3pPr>
              <a:defRPr sz="1800" b="0" i="1">
                <a:solidFill>
                  <a:schemeClr val="accent1"/>
                </a:solidFill>
              </a:defRPr>
            </a:lvl3pPr>
            <a:lvl4pPr>
              <a:defRPr sz="1800" b="0" i="1">
                <a:solidFill>
                  <a:schemeClr val="accent1"/>
                </a:solidFill>
              </a:defRPr>
            </a:lvl4pPr>
            <a:lvl5pPr>
              <a:defRPr sz="18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B2148D14-D0B6-42DE-88A2-47EC2B0F6EFE}"/>
              </a:ext>
            </a:extLst>
          </p:cNvPr>
          <p:cNvSpPr>
            <a:spLocks noGrp="1"/>
          </p:cNvSpPr>
          <p:nvPr>
            <p:ph type="subTitle" idx="18"/>
          </p:nvPr>
        </p:nvSpPr>
        <p:spPr>
          <a:xfrm>
            <a:off x="332185" y="618295"/>
            <a:ext cx="7721963" cy="276999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800" b="0" i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225"/>
              </a:spcAft>
              <a:buNone/>
              <a:defRPr sz="1800" i="1">
                <a:solidFill>
                  <a:schemeClr val="accent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003501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591">
          <p15:clr>
            <a:srgbClr val="9FCC3B"/>
          </p15:clr>
        </p15:guide>
        <p15:guide id="2" pos="3840">
          <p15:clr>
            <a:srgbClr val="9FCC3B"/>
          </p15:clr>
        </p15:guide>
        <p15:guide id="3" pos="279">
          <p15:clr>
            <a:srgbClr val="9FCC3B"/>
          </p15:clr>
        </p15:guide>
        <p15:guide id="5" pos="7401">
          <p15:clr>
            <a:srgbClr val="9FCC3B"/>
          </p15:clr>
        </p15:guide>
        <p15:guide id="6" orient="horz" pos="1139">
          <p15:clr>
            <a:srgbClr val="9FCC3B"/>
          </p15:clr>
        </p15:guide>
        <p15:guide id="7" orient="horz" pos="4042">
          <p15:clr>
            <a:srgbClr val="9FCC3B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8A9A1BF-D314-495F-B3CB-99C8957E5F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05799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0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8A9A1BF-D314-495F-B3CB-99C8957E5F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552CAC8-4EF9-4FB3-BBA1-D5A25580CA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185" y="341295"/>
            <a:ext cx="7721963" cy="276999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39E03B1-DB04-4CAE-80C3-63375250FC5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32185" y="1369219"/>
            <a:ext cx="4105275" cy="344328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C3D76B3-AC6E-4BE2-A377-8895FE7482B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706541" y="1369219"/>
            <a:ext cx="4105275" cy="344328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extplatzhalter 16">
            <a:extLst>
              <a:ext uri="{FF2B5EF4-FFF2-40B4-BE49-F238E27FC236}">
                <a16:creationId xmlns:a16="http://schemas.microsoft.com/office/drawing/2014/main" id="{D87A4D40-B5A5-4E6C-9989-0B2BBA6AACF3}"/>
              </a:ext>
            </a:extLst>
          </p:cNvPr>
          <p:cNvSpPr txBox="1">
            <a:spLocks/>
          </p:cNvSpPr>
          <p:nvPr/>
        </p:nvSpPr>
        <p:spPr bwMode="gray">
          <a:xfrm>
            <a:off x="332185" y="956104"/>
            <a:ext cx="287687" cy="216000"/>
          </a:xfrm>
          <a:prstGeom prst="rect">
            <a:avLst/>
          </a:prstGeom>
          <a:noFill/>
        </p:spPr>
        <p:txBody>
          <a:bodyPr vert="horz" lIns="0" tIns="108000" rIns="0" bIns="0" rtlCol="0" anchor="b">
            <a:no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783" rtl="0" eaLnBrk="1" latinLnBrk="0" hangingPunct="1">
              <a:lnSpc>
                <a:spcPct val="100000"/>
              </a:lnSpc>
              <a:spcBef>
                <a:spcPts val="288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—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28D4B1F5-4AAE-4898-8924-8FC5A6C8BB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2185" y="112940"/>
            <a:ext cx="7721963" cy="115416"/>
          </a:xfrm>
        </p:spPr>
        <p:txBody>
          <a:bodyPr>
            <a:spAutoFit/>
          </a:bodyPr>
          <a:lstStyle>
            <a:lvl1pPr>
              <a:defRPr sz="75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800" b="0" i="1">
                <a:solidFill>
                  <a:schemeClr val="accent1"/>
                </a:solidFill>
              </a:defRPr>
            </a:lvl2pPr>
            <a:lvl3pPr>
              <a:defRPr sz="1800" b="0" i="1">
                <a:solidFill>
                  <a:schemeClr val="accent1"/>
                </a:solidFill>
              </a:defRPr>
            </a:lvl3pPr>
            <a:lvl4pPr>
              <a:defRPr sz="1800" b="0" i="1">
                <a:solidFill>
                  <a:schemeClr val="accent1"/>
                </a:solidFill>
              </a:defRPr>
            </a:lvl4pPr>
            <a:lvl5pPr>
              <a:defRPr sz="18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C5542D0B-966F-4274-B5F8-D30C323AEED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First name last name, date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B3C9F1D2-9ED4-4FD0-9AEA-D8B6D14166A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8AD48C63-78A6-4D64-B839-4870EFEB9C1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B788F6F-1909-4AB2-ADC8-9909E124494D}"/>
              </a:ext>
            </a:extLst>
          </p:cNvPr>
          <p:cNvSpPr>
            <a:spLocks noGrp="1"/>
          </p:cNvSpPr>
          <p:nvPr>
            <p:ph type="subTitle" idx="20"/>
          </p:nvPr>
        </p:nvSpPr>
        <p:spPr>
          <a:xfrm>
            <a:off x="332185" y="618295"/>
            <a:ext cx="7721963" cy="276999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800" b="0" i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225"/>
              </a:spcAft>
              <a:buNone/>
              <a:defRPr sz="1800" i="1">
                <a:solidFill>
                  <a:schemeClr val="accent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645870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953">
          <p15:clr>
            <a:srgbClr val="9FCC3B"/>
          </p15:clr>
        </p15:guide>
        <p15:guide id="2" pos="3727">
          <p15:clr>
            <a:srgbClr val="9FCC3B"/>
          </p15:clr>
        </p15:guide>
        <p15:guide id="3" pos="3840">
          <p15:clr>
            <a:srgbClr val="9FCC3B"/>
          </p15:clr>
        </p15:guide>
        <p15:guide id="5" pos="7401">
          <p15:clr>
            <a:srgbClr val="9FCC3B"/>
          </p15:clr>
        </p15:guide>
        <p15:guide id="6" pos="279">
          <p15:clr>
            <a:srgbClr val="9FCC3B"/>
          </p15:clr>
        </p15:guide>
        <p15:guide id="7" orient="horz" pos="1139">
          <p15:clr>
            <a:srgbClr val="9FCC3B"/>
          </p15:clr>
        </p15:guide>
        <p15:guide id="8" orient="horz" pos="2591">
          <p15:clr>
            <a:srgbClr val="9FCC3B"/>
          </p15:clr>
        </p15:guide>
        <p15:guide id="9" orient="horz" pos="4042">
          <p15:clr>
            <a:srgbClr val="9FCC3B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ro/Outro  | Colored Log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CB2CEAB-BCD5-4F64-804B-7DC5BFB7CB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400813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4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CB2CEAB-BCD5-4F64-804B-7DC5BFB7CB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E7D270DD-52DE-4C7A-9940-3A337E6076D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75909" y="1167750"/>
            <a:ext cx="1592186" cy="28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532097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ro/Outro  | White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F00CFE9-CAD0-4F6C-A423-ACC4AA25A0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35368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08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2F00CFE9-CAD0-4F6C-A423-ACC4AA25A0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E7D270DD-52DE-4C7A-9940-3A337E6076D8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100000"/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75909" y="1167750"/>
            <a:ext cx="1592186" cy="28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658672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Half | Colored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83EFE0D-2D4A-430F-8A41-5A43777C9E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344895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6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83EFE0D-2D4A-430F-8A41-5A43777C9E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610D2ED-3F5B-4C81-8C9A-814ECAE3AC0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41844" y="1444666"/>
            <a:ext cx="3960127" cy="923330"/>
          </a:xfrm>
        </p:spPr>
        <p:txBody>
          <a:bodyPr vert="horz" wrap="square" anchor="b">
            <a:spAutoFit/>
          </a:bodyPr>
          <a:lstStyle>
            <a:lvl1pPr algn="l">
              <a:defRPr sz="30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936775A-0DE1-49FB-B66C-8ED26CC79C5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1844" y="2437051"/>
            <a:ext cx="3960127" cy="923330"/>
          </a:xfrm>
        </p:spPr>
        <p:txBody>
          <a:bodyPr wrap="square">
            <a:spAutoFit/>
          </a:bodyPr>
          <a:lstStyle>
            <a:lvl1pPr marL="0" indent="0" algn="l">
              <a:spcBef>
                <a:spcPts val="900"/>
              </a:spcBef>
              <a:spcAft>
                <a:spcPts val="600"/>
              </a:spcAft>
              <a:buNone/>
              <a:defRPr sz="3000" b="0" i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225"/>
              </a:spcAft>
              <a:buNone/>
              <a:defRPr sz="1200" i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35CFCA1-DA8A-41FB-8E83-A5711470129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3191" cy="5143500"/>
          </a:xfrm>
          <a:custGeom>
            <a:avLst/>
            <a:gdLst>
              <a:gd name="connsiteX0" fmla="*/ 5520773 w 6097588"/>
              <a:gd name="connsiteY0" fmla="*/ 766683 h 6858000"/>
              <a:gd name="connsiteX1" fmla="*/ 5510920 w 6097588"/>
              <a:gd name="connsiteY1" fmla="*/ 776535 h 6858000"/>
              <a:gd name="connsiteX2" fmla="*/ 5520773 w 6097588"/>
              <a:gd name="connsiteY2" fmla="*/ 786388 h 6858000"/>
              <a:gd name="connsiteX3" fmla="*/ 5530627 w 6097588"/>
              <a:gd name="connsiteY3" fmla="*/ 776535 h 6858000"/>
              <a:gd name="connsiteX4" fmla="*/ 5520773 w 6097588"/>
              <a:gd name="connsiteY4" fmla="*/ 766683 h 6858000"/>
              <a:gd name="connsiteX5" fmla="*/ 4967577 w 6097588"/>
              <a:gd name="connsiteY5" fmla="*/ 714599 h 6858000"/>
              <a:gd name="connsiteX6" fmla="*/ 5015436 w 6097588"/>
              <a:gd name="connsiteY6" fmla="*/ 770903 h 6858000"/>
              <a:gd name="connsiteX7" fmla="*/ 5015436 w 6097588"/>
              <a:gd name="connsiteY7" fmla="*/ 773720 h 6858000"/>
              <a:gd name="connsiteX8" fmla="*/ 5014029 w 6097588"/>
              <a:gd name="connsiteY8" fmla="*/ 773720 h 6858000"/>
              <a:gd name="connsiteX9" fmla="*/ 4908456 w 6097588"/>
              <a:gd name="connsiteY9" fmla="*/ 773720 h 6858000"/>
              <a:gd name="connsiteX10" fmla="*/ 4967577 w 6097588"/>
              <a:gd name="connsiteY10" fmla="*/ 714599 h 6858000"/>
              <a:gd name="connsiteX11" fmla="*/ 5339366 w 6097588"/>
              <a:gd name="connsiteY11" fmla="*/ 690142 h 6858000"/>
              <a:gd name="connsiteX12" fmla="*/ 5354674 w 6097588"/>
              <a:gd name="connsiteY12" fmla="*/ 692078 h 6858000"/>
              <a:gd name="connsiteX13" fmla="*/ 5356081 w 6097588"/>
              <a:gd name="connsiteY13" fmla="*/ 692078 h 6858000"/>
              <a:gd name="connsiteX14" fmla="*/ 5354674 w 6097588"/>
              <a:gd name="connsiteY14" fmla="*/ 693485 h 6858000"/>
              <a:gd name="connsiteX15" fmla="*/ 5334967 w 6097588"/>
              <a:gd name="connsiteY15" fmla="*/ 710377 h 6858000"/>
              <a:gd name="connsiteX16" fmla="*/ 5318075 w 6097588"/>
              <a:gd name="connsiteY16" fmla="*/ 714599 h 6858000"/>
              <a:gd name="connsiteX17" fmla="*/ 5303999 w 6097588"/>
              <a:gd name="connsiteY17" fmla="*/ 711785 h 6858000"/>
              <a:gd name="connsiteX18" fmla="*/ 5320891 w 6097588"/>
              <a:gd name="connsiteY18" fmla="*/ 697709 h 6858000"/>
              <a:gd name="connsiteX19" fmla="*/ 5339366 w 6097588"/>
              <a:gd name="connsiteY19" fmla="*/ 690142 h 6858000"/>
              <a:gd name="connsiteX20" fmla="*/ 4590333 w 6097588"/>
              <a:gd name="connsiteY20" fmla="*/ 686446 h 6858000"/>
              <a:gd name="connsiteX21" fmla="*/ 4590333 w 6097588"/>
              <a:gd name="connsiteY21" fmla="*/ 913075 h 6858000"/>
              <a:gd name="connsiteX22" fmla="*/ 4629745 w 6097588"/>
              <a:gd name="connsiteY22" fmla="*/ 913075 h 6858000"/>
              <a:gd name="connsiteX23" fmla="*/ 4629745 w 6097588"/>
              <a:gd name="connsiteY23" fmla="*/ 686446 h 6858000"/>
              <a:gd name="connsiteX24" fmla="*/ 3840067 w 6097588"/>
              <a:gd name="connsiteY24" fmla="*/ 686446 h 6858000"/>
              <a:gd name="connsiteX25" fmla="*/ 3923115 w 6097588"/>
              <a:gd name="connsiteY25" fmla="*/ 913075 h 6858000"/>
              <a:gd name="connsiteX26" fmla="*/ 3921708 w 6097588"/>
              <a:gd name="connsiteY26" fmla="*/ 920112 h 6858000"/>
              <a:gd name="connsiteX27" fmla="*/ 3878072 w 6097588"/>
              <a:gd name="connsiteY27" fmla="*/ 959526 h 6858000"/>
              <a:gd name="connsiteX28" fmla="*/ 3852735 w 6097588"/>
              <a:gd name="connsiteY28" fmla="*/ 956711 h 6858000"/>
              <a:gd name="connsiteX29" fmla="*/ 3852735 w 6097588"/>
              <a:gd name="connsiteY29" fmla="*/ 987679 h 6858000"/>
              <a:gd name="connsiteX30" fmla="*/ 3880888 w 6097588"/>
              <a:gd name="connsiteY30" fmla="*/ 991901 h 6858000"/>
              <a:gd name="connsiteX31" fmla="*/ 3958307 w 6097588"/>
              <a:gd name="connsiteY31" fmla="*/ 931373 h 6858000"/>
              <a:gd name="connsiteX32" fmla="*/ 4041358 w 6097588"/>
              <a:gd name="connsiteY32" fmla="*/ 686446 h 6858000"/>
              <a:gd name="connsiteX33" fmla="*/ 4000535 w 6097588"/>
              <a:gd name="connsiteY33" fmla="*/ 686446 h 6858000"/>
              <a:gd name="connsiteX34" fmla="*/ 3945638 w 6097588"/>
              <a:gd name="connsiteY34" fmla="*/ 862399 h 6858000"/>
              <a:gd name="connsiteX35" fmla="*/ 3944231 w 6097588"/>
              <a:gd name="connsiteY35" fmla="*/ 862399 h 6858000"/>
              <a:gd name="connsiteX36" fmla="*/ 3882294 w 6097588"/>
              <a:gd name="connsiteY36" fmla="*/ 686446 h 6858000"/>
              <a:gd name="connsiteX37" fmla="*/ 4763471 w 6097588"/>
              <a:gd name="connsiteY37" fmla="*/ 683631 h 6858000"/>
              <a:gd name="connsiteX38" fmla="*/ 4684643 w 6097588"/>
              <a:gd name="connsiteY38" fmla="*/ 746974 h 6858000"/>
              <a:gd name="connsiteX39" fmla="*/ 4745171 w 6097588"/>
              <a:gd name="connsiteY39" fmla="*/ 813133 h 6858000"/>
              <a:gd name="connsiteX40" fmla="*/ 4791622 w 6097588"/>
              <a:gd name="connsiteY40" fmla="*/ 851138 h 6858000"/>
              <a:gd name="connsiteX41" fmla="*/ 4743764 w 6097588"/>
              <a:gd name="connsiteY41" fmla="*/ 884922 h 6858000"/>
              <a:gd name="connsiteX42" fmla="*/ 4681828 w 6097588"/>
              <a:gd name="connsiteY42" fmla="*/ 870845 h 6858000"/>
              <a:gd name="connsiteX43" fmla="*/ 4681828 w 6097588"/>
              <a:gd name="connsiteY43" fmla="*/ 903222 h 6858000"/>
              <a:gd name="connsiteX44" fmla="*/ 4749395 w 6097588"/>
              <a:gd name="connsiteY44" fmla="*/ 915890 h 6858000"/>
              <a:gd name="connsiteX45" fmla="*/ 4829630 w 6097588"/>
              <a:gd name="connsiteY45" fmla="*/ 848323 h 6858000"/>
              <a:gd name="connsiteX46" fmla="*/ 4762063 w 6097588"/>
              <a:gd name="connsiteY46" fmla="*/ 779349 h 6858000"/>
              <a:gd name="connsiteX47" fmla="*/ 4724057 w 6097588"/>
              <a:gd name="connsiteY47" fmla="*/ 744159 h 6858000"/>
              <a:gd name="connsiteX48" fmla="*/ 4764878 w 6097588"/>
              <a:gd name="connsiteY48" fmla="*/ 714599 h 6858000"/>
              <a:gd name="connsiteX49" fmla="*/ 4819775 w 6097588"/>
              <a:gd name="connsiteY49" fmla="*/ 727267 h 6858000"/>
              <a:gd name="connsiteX50" fmla="*/ 4819775 w 6097588"/>
              <a:gd name="connsiteY50" fmla="*/ 693485 h 6858000"/>
              <a:gd name="connsiteX51" fmla="*/ 4763471 w 6097588"/>
              <a:gd name="connsiteY51" fmla="*/ 683631 h 6858000"/>
              <a:gd name="connsiteX52" fmla="*/ 4180712 w 6097588"/>
              <a:gd name="connsiteY52" fmla="*/ 683631 h 6858000"/>
              <a:gd name="connsiteX53" fmla="*/ 4115962 w 6097588"/>
              <a:gd name="connsiteY53" fmla="*/ 704746 h 6858000"/>
              <a:gd name="connsiteX54" fmla="*/ 4115962 w 6097588"/>
              <a:gd name="connsiteY54" fmla="*/ 686446 h 6858000"/>
              <a:gd name="connsiteX55" fmla="*/ 4076548 w 6097588"/>
              <a:gd name="connsiteY55" fmla="*/ 686446 h 6858000"/>
              <a:gd name="connsiteX56" fmla="*/ 4076548 w 6097588"/>
              <a:gd name="connsiteY56" fmla="*/ 913075 h 6858000"/>
              <a:gd name="connsiteX57" fmla="*/ 4115962 w 6097588"/>
              <a:gd name="connsiteY57" fmla="*/ 913075 h 6858000"/>
              <a:gd name="connsiteX58" fmla="*/ 4115962 w 6097588"/>
              <a:gd name="connsiteY58" fmla="*/ 731491 h 6858000"/>
              <a:gd name="connsiteX59" fmla="*/ 4161005 w 6097588"/>
              <a:gd name="connsiteY59" fmla="*/ 714599 h 6858000"/>
              <a:gd name="connsiteX60" fmla="*/ 4204641 w 6097588"/>
              <a:gd name="connsiteY60" fmla="*/ 766681 h 6858000"/>
              <a:gd name="connsiteX61" fmla="*/ 4204641 w 6097588"/>
              <a:gd name="connsiteY61" fmla="*/ 911666 h 6858000"/>
              <a:gd name="connsiteX62" fmla="*/ 4244055 w 6097588"/>
              <a:gd name="connsiteY62" fmla="*/ 911666 h 6858000"/>
              <a:gd name="connsiteX63" fmla="*/ 4244055 w 6097588"/>
              <a:gd name="connsiteY63" fmla="*/ 758235 h 6858000"/>
              <a:gd name="connsiteX64" fmla="*/ 4239833 w 6097588"/>
              <a:gd name="connsiteY64" fmla="*/ 728676 h 6858000"/>
              <a:gd name="connsiteX65" fmla="*/ 4287692 w 6097588"/>
              <a:gd name="connsiteY65" fmla="*/ 714599 h 6858000"/>
              <a:gd name="connsiteX66" fmla="*/ 4334143 w 6097588"/>
              <a:gd name="connsiteY66" fmla="*/ 768090 h 6858000"/>
              <a:gd name="connsiteX67" fmla="*/ 4334143 w 6097588"/>
              <a:gd name="connsiteY67" fmla="*/ 913075 h 6858000"/>
              <a:gd name="connsiteX68" fmla="*/ 4373557 w 6097588"/>
              <a:gd name="connsiteY68" fmla="*/ 913075 h 6858000"/>
              <a:gd name="connsiteX69" fmla="*/ 4373557 w 6097588"/>
              <a:gd name="connsiteY69" fmla="*/ 763866 h 6858000"/>
              <a:gd name="connsiteX70" fmla="*/ 4301768 w 6097588"/>
              <a:gd name="connsiteY70" fmla="*/ 683631 h 6858000"/>
              <a:gd name="connsiteX71" fmla="*/ 4231387 w 6097588"/>
              <a:gd name="connsiteY71" fmla="*/ 707560 h 6858000"/>
              <a:gd name="connsiteX72" fmla="*/ 4180712 w 6097588"/>
              <a:gd name="connsiteY72" fmla="*/ 683631 h 6858000"/>
              <a:gd name="connsiteX73" fmla="*/ 3754201 w 6097588"/>
              <a:gd name="connsiteY73" fmla="*/ 683631 h 6858000"/>
              <a:gd name="connsiteX74" fmla="*/ 3675375 w 6097588"/>
              <a:gd name="connsiteY74" fmla="*/ 746974 h 6858000"/>
              <a:gd name="connsiteX75" fmla="*/ 3737309 w 6097588"/>
              <a:gd name="connsiteY75" fmla="*/ 813133 h 6858000"/>
              <a:gd name="connsiteX76" fmla="*/ 3783761 w 6097588"/>
              <a:gd name="connsiteY76" fmla="*/ 851138 h 6858000"/>
              <a:gd name="connsiteX77" fmla="*/ 3735901 w 6097588"/>
              <a:gd name="connsiteY77" fmla="*/ 884922 h 6858000"/>
              <a:gd name="connsiteX78" fmla="*/ 3673966 w 6097588"/>
              <a:gd name="connsiteY78" fmla="*/ 870845 h 6858000"/>
              <a:gd name="connsiteX79" fmla="*/ 3673966 w 6097588"/>
              <a:gd name="connsiteY79" fmla="*/ 903222 h 6858000"/>
              <a:gd name="connsiteX80" fmla="*/ 3741531 w 6097588"/>
              <a:gd name="connsiteY80" fmla="*/ 915890 h 6858000"/>
              <a:gd name="connsiteX81" fmla="*/ 3821766 w 6097588"/>
              <a:gd name="connsiteY81" fmla="*/ 848323 h 6858000"/>
              <a:gd name="connsiteX82" fmla="*/ 3754201 w 6097588"/>
              <a:gd name="connsiteY82" fmla="*/ 779349 h 6858000"/>
              <a:gd name="connsiteX83" fmla="*/ 3714787 w 6097588"/>
              <a:gd name="connsiteY83" fmla="*/ 744159 h 6858000"/>
              <a:gd name="connsiteX84" fmla="*/ 3755608 w 6097588"/>
              <a:gd name="connsiteY84" fmla="*/ 714599 h 6858000"/>
              <a:gd name="connsiteX85" fmla="*/ 3810505 w 6097588"/>
              <a:gd name="connsiteY85" fmla="*/ 727267 h 6858000"/>
              <a:gd name="connsiteX86" fmla="*/ 3810505 w 6097588"/>
              <a:gd name="connsiteY86" fmla="*/ 693485 h 6858000"/>
              <a:gd name="connsiteX87" fmla="*/ 3754201 w 6097588"/>
              <a:gd name="connsiteY87" fmla="*/ 683631 h 6858000"/>
              <a:gd name="connsiteX88" fmla="*/ 4967577 w 6097588"/>
              <a:gd name="connsiteY88" fmla="*/ 682224 h 6858000"/>
              <a:gd name="connsiteX89" fmla="*/ 4866227 w 6097588"/>
              <a:gd name="connsiteY89" fmla="*/ 799056 h 6858000"/>
              <a:gd name="connsiteX90" fmla="*/ 4976023 w 6097588"/>
              <a:gd name="connsiteY90" fmla="*/ 915890 h 6858000"/>
              <a:gd name="connsiteX91" fmla="*/ 5040773 w 6097588"/>
              <a:gd name="connsiteY91" fmla="*/ 903222 h 6858000"/>
              <a:gd name="connsiteX92" fmla="*/ 5040773 w 6097588"/>
              <a:gd name="connsiteY92" fmla="*/ 870845 h 6858000"/>
              <a:gd name="connsiteX93" fmla="*/ 4977430 w 6097588"/>
              <a:gd name="connsiteY93" fmla="*/ 884922 h 6858000"/>
              <a:gd name="connsiteX94" fmla="*/ 4907049 w 6097588"/>
              <a:gd name="connsiteY94" fmla="*/ 800465 h 6858000"/>
              <a:gd name="connsiteX95" fmla="*/ 5054850 w 6097588"/>
              <a:gd name="connsiteY95" fmla="*/ 800465 h 6858000"/>
              <a:gd name="connsiteX96" fmla="*/ 5054850 w 6097588"/>
              <a:gd name="connsiteY96" fmla="*/ 782166 h 6858000"/>
              <a:gd name="connsiteX97" fmla="*/ 4967577 w 6097588"/>
              <a:gd name="connsiteY97" fmla="*/ 682224 h 6858000"/>
              <a:gd name="connsiteX98" fmla="*/ 4529803 w 6097588"/>
              <a:gd name="connsiteY98" fmla="*/ 682224 h 6858000"/>
              <a:gd name="connsiteX99" fmla="*/ 4473499 w 6097588"/>
              <a:gd name="connsiteY99" fmla="*/ 708968 h 6858000"/>
              <a:gd name="connsiteX100" fmla="*/ 4473499 w 6097588"/>
              <a:gd name="connsiteY100" fmla="*/ 685039 h 6858000"/>
              <a:gd name="connsiteX101" fmla="*/ 4434085 w 6097588"/>
              <a:gd name="connsiteY101" fmla="*/ 685039 h 6858000"/>
              <a:gd name="connsiteX102" fmla="*/ 4434085 w 6097588"/>
              <a:gd name="connsiteY102" fmla="*/ 911666 h 6858000"/>
              <a:gd name="connsiteX103" fmla="*/ 4473499 w 6097588"/>
              <a:gd name="connsiteY103" fmla="*/ 911666 h 6858000"/>
              <a:gd name="connsiteX104" fmla="*/ 4473499 w 6097588"/>
              <a:gd name="connsiteY104" fmla="*/ 738528 h 6858000"/>
              <a:gd name="connsiteX105" fmla="*/ 4525581 w 6097588"/>
              <a:gd name="connsiteY105" fmla="*/ 718823 h 6858000"/>
              <a:gd name="connsiteX106" fmla="*/ 4549510 w 6097588"/>
              <a:gd name="connsiteY106" fmla="*/ 721636 h 6858000"/>
              <a:gd name="connsiteX107" fmla="*/ 4549510 w 6097588"/>
              <a:gd name="connsiteY107" fmla="*/ 685039 h 6858000"/>
              <a:gd name="connsiteX108" fmla="*/ 4529803 w 6097588"/>
              <a:gd name="connsiteY108" fmla="*/ 682224 h 6858000"/>
              <a:gd name="connsiteX109" fmla="*/ 5365934 w 6097588"/>
              <a:gd name="connsiteY109" fmla="*/ 609028 h 6858000"/>
              <a:gd name="connsiteX110" fmla="*/ 5378603 w 6097588"/>
              <a:gd name="connsiteY110" fmla="*/ 618881 h 6858000"/>
              <a:gd name="connsiteX111" fmla="*/ 5365934 w 6097588"/>
              <a:gd name="connsiteY111" fmla="*/ 628735 h 6858000"/>
              <a:gd name="connsiteX112" fmla="*/ 5353266 w 6097588"/>
              <a:gd name="connsiteY112" fmla="*/ 618881 h 6858000"/>
              <a:gd name="connsiteX113" fmla="*/ 5365934 w 6097588"/>
              <a:gd name="connsiteY113" fmla="*/ 609028 h 6858000"/>
              <a:gd name="connsiteX114" fmla="*/ 4610038 w 6097588"/>
              <a:gd name="connsiteY114" fmla="*/ 593543 h 6858000"/>
              <a:gd name="connsiteX115" fmla="*/ 4583294 w 6097588"/>
              <a:gd name="connsiteY115" fmla="*/ 618881 h 6858000"/>
              <a:gd name="connsiteX116" fmla="*/ 4610038 w 6097588"/>
              <a:gd name="connsiteY116" fmla="*/ 644217 h 6858000"/>
              <a:gd name="connsiteX117" fmla="*/ 4636785 w 6097588"/>
              <a:gd name="connsiteY117" fmla="*/ 618881 h 6858000"/>
              <a:gd name="connsiteX118" fmla="*/ 4610038 w 6097588"/>
              <a:gd name="connsiteY118" fmla="*/ 593543 h 6858000"/>
              <a:gd name="connsiteX119" fmla="*/ 5412387 w 6097588"/>
              <a:gd name="connsiteY119" fmla="*/ 530201 h 6858000"/>
              <a:gd name="connsiteX120" fmla="*/ 5578486 w 6097588"/>
              <a:gd name="connsiteY120" fmla="*/ 606213 h 6858000"/>
              <a:gd name="connsiteX121" fmla="*/ 5582709 w 6097588"/>
              <a:gd name="connsiteY121" fmla="*/ 679409 h 6858000"/>
              <a:gd name="connsiteX122" fmla="*/ 5529219 w 6097588"/>
              <a:gd name="connsiteY122" fmla="*/ 676593 h 6858000"/>
              <a:gd name="connsiteX123" fmla="*/ 5533443 w 6097588"/>
              <a:gd name="connsiteY123" fmla="*/ 666741 h 6858000"/>
              <a:gd name="connsiteX124" fmla="*/ 5540480 w 6097588"/>
              <a:gd name="connsiteY124" fmla="*/ 665332 h 6858000"/>
              <a:gd name="connsiteX125" fmla="*/ 5541888 w 6097588"/>
              <a:gd name="connsiteY125" fmla="*/ 661110 h 6858000"/>
              <a:gd name="connsiteX126" fmla="*/ 5524997 w 6097588"/>
              <a:gd name="connsiteY126" fmla="*/ 655479 h 6858000"/>
              <a:gd name="connsiteX127" fmla="*/ 5503881 w 6097588"/>
              <a:gd name="connsiteY127" fmla="*/ 656888 h 6858000"/>
              <a:gd name="connsiteX128" fmla="*/ 5495435 w 6097588"/>
              <a:gd name="connsiteY128" fmla="*/ 654071 h 6858000"/>
              <a:gd name="connsiteX129" fmla="*/ 5492620 w 6097588"/>
              <a:gd name="connsiteY129" fmla="*/ 649849 h 6858000"/>
              <a:gd name="connsiteX130" fmla="*/ 5495435 w 6097588"/>
              <a:gd name="connsiteY130" fmla="*/ 641403 h 6858000"/>
              <a:gd name="connsiteX131" fmla="*/ 5503881 w 6097588"/>
              <a:gd name="connsiteY131" fmla="*/ 639996 h 6858000"/>
              <a:gd name="connsiteX132" fmla="*/ 5505290 w 6097588"/>
              <a:gd name="connsiteY132" fmla="*/ 635772 h 6858000"/>
              <a:gd name="connsiteX133" fmla="*/ 5488398 w 6097588"/>
              <a:gd name="connsiteY133" fmla="*/ 630142 h 6858000"/>
              <a:gd name="connsiteX134" fmla="*/ 5467284 w 6097588"/>
              <a:gd name="connsiteY134" fmla="*/ 631550 h 6858000"/>
              <a:gd name="connsiteX135" fmla="*/ 5458838 w 6097588"/>
              <a:gd name="connsiteY135" fmla="*/ 628735 h 6858000"/>
              <a:gd name="connsiteX136" fmla="*/ 5456023 w 6097588"/>
              <a:gd name="connsiteY136" fmla="*/ 624511 h 6858000"/>
              <a:gd name="connsiteX137" fmla="*/ 5458838 w 6097588"/>
              <a:gd name="connsiteY137" fmla="*/ 614659 h 6858000"/>
              <a:gd name="connsiteX138" fmla="*/ 5467284 w 6097588"/>
              <a:gd name="connsiteY138" fmla="*/ 613250 h 6858000"/>
              <a:gd name="connsiteX139" fmla="*/ 5468691 w 6097588"/>
              <a:gd name="connsiteY139" fmla="*/ 609028 h 6858000"/>
              <a:gd name="connsiteX140" fmla="*/ 5451799 w 6097588"/>
              <a:gd name="connsiteY140" fmla="*/ 603397 h 6858000"/>
              <a:gd name="connsiteX141" fmla="*/ 5430685 w 6097588"/>
              <a:gd name="connsiteY141" fmla="*/ 604804 h 6858000"/>
              <a:gd name="connsiteX142" fmla="*/ 5426463 w 6097588"/>
              <a:gd name="connsiteY142" fmla="*/ 603397 h 6858000"/>
              <a:gd name="connsiteX143" fmla="*/ 5425055 w 6097588"/>
              <a:gd name="connsiteY143" fmla="*/ 600582 h 6858000"/>
              <a:gd name="connsiteX144" fmla="*/ 5426463 w 6097588"/>
              <a:gd name="connsiteY144" fmla="*/ 593545 h 6858000"/>
              <a:gd name="connsiteX145" fmla="*/ 5427870 w 6097588"/>
              <a:gd name="connsiteY145" fmla="*/ 573836 h 6858000"/>
              <a:gd name="connsiteX146" fmla="*/ 5415200 w 6097588"/>
              <a:gd name="connsiteY146" fmla="*/ 551315 h 6858000"/>
              <a:gd name="connsiteX147" fmla="*/ 5410978 w 6097588"/>
              <a:gd name="connsiteY147" fmla="*/ 549907 h 6858000"/>
              <a:gd name="connsiteX148" fmla="*/ 5409571 w 6097588"/>
              <a:gd name="connsiteY148" fmla="*/ 555537 h 6858000"/>
              <a:gd name="connsiteX149" fmla="*/ 5384234 w 6097588"/>
              <a:gd name="connsiteY149" fmla="*/ 589321 h 6858000"/>
              <a:gd name="connsiteX150" fmla="*/ 5375788 w 6097588"/>
              <a:gd name="connsiteY150" fmla="*/ 589321 h 6858000"/>
              <a:gd name="connsiteX151" fmla="*/ 5370157 w 6097588"/>
              <a:gd name="connsiteY151" fmla="*/ 589321 h 6858000"/>
              <a:gd name="connsiteX152" fmla="*/ 5367342 w 6097588"/>
              <a:gd name="connsiteY152" fmla="*/ 589321 h 6858000"/>
              <a:gd name="connsiteX153" fmla="*/ 5361711 w 6097588"/>
              <a:gd name="connsiteY153" fmla="*/ 589321 h 6858000"/>
              <a:gd name="connsiteX154" fmla="*/ 5353266 w 6097588"/>
              <a:gd name="connsiteY154" fmla="*/ 590728 h 6858000"/>
              <a:gd name="connsiteX155" fmla="*/ 5333558 w 6097588"/>
              <a:gd name="connsiteY155" fmla="*/ 610435 h 6858000"/>
              <a:gd name="connsiteX156" fmla="*/ 5333558 w 6097588"/>
              <a:gd name="connsiteY156" fmla="*/ 613250 h 6858000"/>
              <a:gd name="connsiteX157" fmla="*/ 5330743 w 6097588"/>
              <a:gd name="connsiteY157" fmla="*/ 617474 h 6858000"/>
              <a:gd name="connsiteX158" fmla="*/ 5319482 w 6097588"/>
              <a:gd name="connsiteY158" fmla="*/ 618881 h 6858000"/>
              <a:gd name="connsiteX159" fmla="*/ 5277254 w 6097588"/>
              <a:gd name="connsiteY159" fmla="*/ 607620 h 6858000"/>
              <a:gd name="connsiteX160" fmla="*/ 5274439 w 6097588"/>
              <a:gd name="connsiteY160" fmla="*/ 606213 h 6858000"/>
              <a:gd name="connsiteX161" fmla="*/ 5273031 w 6097588"/>
              <a:gd name="connsiteY161" fmla="*/ 607620 h 6858000"/>
              <a:gd name="connsiteX162" fmla="*/ 5261769 w 6097588"/>
              <a:gd name="connsiteY162" fmla="*/ 637181 h 6858000"/>
              <a:gd name="connsiteX163" fmla="*/ 5281476 w 6097588"/>
              <a:gd name="connsiteY163" fmla="*/ 673778 h 6858000"/>
              <a:gd name="connsiteX164" fmla="*/ 5288514 w 6097588"/>
              <a:gd name="connsiteY164" fmla="*/ 678002 h 6858000"/>
              <a:gd name="connsiteX165" fmla="*/ 5288514 w 6097588"/>
              <a:gd name="connsiteY165" fmla="*/ 675187 h 6858000"/>
              <a:gd name="connsiteX166" fmla="*/ 5291331 w 6097588"/>
              <a:gd name="connsiteY166" fmla="*/ 665332 h 6858000"/>
              <a:gd name="connsiteX167" fmla="*/ 5309629 w 6097588"/>
              <a:gd name="connsiteY167" fmla="*/ 661110 h 6858000"/>
              <a:gd name="connsiteX168" fmla="*/ 5311036 w 6097588"/>
              <a:gd name="connsiteY168" fmla="*/ 662517 h 6858000"/>
              <a:gd name="connsiteX169" fmla="*/ 5323706 w 6097588"/>
              <a:gd name="connsiteY169" fmla="*/ 666741 h 6858000"/>
              <a:gd name="connsiteX170" fmla="*/ 5336374 w 6097588"/>
              <a:gd name="connsiteY170" fmla="*/ 662517 h 6858000"/>
              <a:gd name="connsiteX171" fmla="*/ 5354674 w 6097588"/>
              <a:gd name="connsiteY171" fmla="*/ 662517 h 6858000"/>
              <a:gd name="connsiteX172" fmla="*/ 5357489 w 6097588"/>
              <a:gd name="connsiteY172" fmla="*/ 678002 h 6858000"/>
              <a:gd name="connsiteX173" fmla="*/ 5357489 w 6097588"/>
              <a:gd name="connsiteY173" fmla="*/ 679409 h 6858000"/>
              <a:gd name="connsiteX174" fmla="*/ 5356081 w 6097588"/>
              <a:gd name="connsiteY174" fmla="*/ 679409 h 6858000"/>
              <a:gd name="connsiteX175" fmla="*/ 5322297 w 6097588"/>
              <a:gd name="connsiteY175" fmla="*/ 676593 h 6858000"/>
              <a:gd name="connsiteX176" fmla="*/ 5302590 w 6097588"/>
              <a:gd name="connsiteY176" fmla="*/ 685039 h 6858000"/>
              <a:gd name="connsiteX177" fmla="*/ 5268808 w 6097588"/>
              <a:gd name="connsiteY177" fmla="*/ 692078 h 6858000"/>
              <a:gd name="connsiteX178" fmla="*/ 5247693 w 6097588"/>
              <a:gd name="connsiteY178" fmla="*/ 672371 h 6858000"/>
              <a:gd name="connsiteX179" fmla="*/ 5246286 w 6097588"/>
              <a:gd name="connsiteY179" fmla="*/ 669556 h 6858000"/>
              <a:gd name="connsiteX180" fmla="*/ 5244878 w 6097588"/>
              <a:gd name="connsiteY180" fmla="*/ 673778 h 6858000"/>
              <a:gd name="connsiteX181" fmla="*/ 5253323 w 6097588"/>
              <a:gd name="connsiteY181" fmla="*/ 707561 h 6858000"/>
              <a:gd name="connsiteX182" fmla="*/ 5294146 w 6097588"/>
              <a:gd name="connsiteY182" fmla="*/ 713192 h 6858000"/>
              <a:gd name="connsiteX183" fmla="*/ 5295553 w 6097588"/>
              <a:gd name="connsiteY183" fmla="*/ 711785 h 6858000"/>
              <a:gd name="connsiteX184" fmla="*/ 5295553 w 6097588"/>
              <a:gd name="connsiteY184" fmla="*/ 713192 h 6858000"/>
              <a:gd name="connsiteX185" fmla="*/ 5299775 w 6097588"/>
              <a:gd name="connsiteY185" fmla="*/ 727269 h 6858000"/>
              <a:gd name="connsiteX186" fmla="*/ 5318075 w 6097588"/>
              <a:gd name="connsiteY186" fmla="*/ 739937 h 6858000"/>
              <a:gd name="connsiteX187" fmla="*/ 5340598 w 6097588"/>
              <a:gd name="connsiteY187" fmla="*/ 730084 h 6858000"/>
              <a:gd name="connsiteX188" fmla="*/ 5388456 w 6097588"/>
              <a:gd name="connsiteY188" fmla="*/ 713192 h 6858000"/>
              <a:gd name="connsiteX189" fmla="*/ 5456023 w 6097588"/>
              <a:gd name="connsiteY189" fmla="*/ 786388 h 6858000"/>
              <a:gd name="connsiteX190" fmla="*/ 5461654 w 6097588"/>
              <a:gd name="connsiteY190" fmla="*/ 796242 h 6858000"/>
              <a:gd name="connsiteX191" fmla="*/ 5461654 w 6097588"/>
              <a:gd name="connsiteY191" fmla="*/ 797649 h 6858000"/>
              <a:gd name="connsiteX192" fmla="*/ 5467284 w 6097588"/>
              <a:gd name="connsiteY192" fmla="*/ 801873 h 6858000"/>
              <a:gd name="connsiteX193" fmla="*/ 5470099 w 6097588"/>
              <a:gd name="connsiteY193" fmla="*/ 797649 h 6858000"/>
              <a:gd name="connsiteX194" fmla="*/ 5499659 w 6097588"/>
              <a:gd name="connsiteY194" fmla="*/ 758237 h 6858000"/>
              <a:gd name="connsiteX195" fmla="*/ 5526404 w 6097588"/>
              <a:gd name="connsiteY195" fmla="*/ 754013 h 6858000"/>
              <a:gd name="connsiteX196" fmla="*/ 5529219 w 6097588"/>
              <a:gd name="connsiteY196" fmla="*/ 754013 h 6858000"/>
              <a:gd name="connsiteX197" fmla="*/ 5554556 w 6097588"/>
              <a:gd name="connsiteY197" fmla="*/ 744160 h 6858000"/>
              <a:gd name="connsiteX198" fmla="*/ 5622122 w 6097588"/>
              <a:gd name="connsiteY198" fmla="*/ 718823 h 6858000"/>
              <a:gd name="connsiteX199" fmla="*/ 5631976 w 6097588"/>
              <a:gd name="connsiteY199" fmla="*/ 721638 h 6858000"/>
              <a:gd name="connsiteX200" fmla="*/ 5629161 w 6097588"/>
              <a:gd name="connsiteY200" fmla="*/ 728675 h 6858000"/>
              <a:gd name="connsiteX201" fmla="*/ 5624939 w 6097588"/>
              <a:gd name="connsiteY201" fmla="*/ 730084 h 6858000"/>
              <a:gd name="connsiteX202" fmla="*/ 5543295 w 6097588"/>
              <a:gd name="connsiteY202" fmla="*/ 789205 h 6858000"/>
              <a:gd name="connsiteX203" fmla="*/ 5540480 w 6097588"/>
              <a:gd name="connsiteY203" fmla="*/ 810319 h 6858000"/>
              <a:gd name="connsiteX204" fmla="*/ 5540480 w 6097588"/>
              <a:gd name="connsiteY204" fmla="*/ 820172 h 6858000"/>
              <a:gd name="connsiteX205" fmla="*/ 5513736 w 6097588"/>
              <a:gd name="connsiteY205" fmla="*/ 886330 h 6858000"/>
              <a:gd name="connsiteX206" fmla="*/ 5486989 w 6097588"/>
              <a:gd name="connsiteY206" fmla="*/ 908852 h 6858000"/>
              <a:gd name="connsiteX207" fmla="*/ 5481361 w 6097588"/>
              <a:gd name="connsiteY207" fmla="*/ 914483 h 6858000"/>
              <a:gd name="connsiteX208" fmla="*/ 5475730 w 6097588"/>
              <a:gd name="connsiteY208" fmla="*/ 921520 h 6858000"/>
              <a:gd name="connsiteX209" fmla="*/ 5448984 w 6097588"/>
              <a:gd name="connsiteY209" fmla="*/ 951082 h 6858000"/>
              <a:gd name="connsiteX210" fmla="*/ 5422239 w 6097588"/>
              <a:gd name="connsiteY210" fmla="*/ 969380 h 6858000"/>
              <a:gd name="connsiteX211" fmla="*/ 5420833 w 6097588"/>
              <a:gd name="connsiteY211" fmla="*/ 969380 h 6858000"/>
              <a:gd name="connsiteX212" fmla="*/ 5419424 w 6097588"/>
              <a:gd name="connsiteY212" fmla="*/ 967974 h 6858000"/>
              <a:gd name="connsiteX213" fmla="*/ 5433501 w 6097588"/>
              <a:gd name="connsiteY213" fmla="*/ 946858 h 6858000"/>
              <a:gd name="connsiteX214" fmla="*/ 5447577 w 6097588"/>
              <a:gd name="connsiteY214" fmla="*/ 927151 h 6858000"/>
              <a:gd name="connsiteX215" fmla="*/ 5433501 w 6097588"/>
              <a:gd name="connsiteY215" fmla="*/ 932782 h 6858000"/>
              <a:gd name="connsiteX216" fmla="*/ 5419424 w 6097588"/>
              <a:gd name="connsiteY216" fmla="*/ 939821 h 6858000"/>
              <a:gd name="connsiteX217" fmla="*/ 5351857 w 6097588"/>
              <a:gd name="connsiteY217" fmla="*/ 958119 h 6858000"/>
              <a:gd name="connsiteX218" fmla="*/ 5351857 w 6097588"/>
              <a:gd name="connsiteY218" fmla="*/ 955304 h 6858000"/>
              <a:gd name="connsiteX219" fmla="*/ 5371564 w 6097588"/>
              <a:gd name="connsiteY219" fmla="*/ 942636 h 6858000"/>
              <a:gd name="connsiteX220" fmla="*/ 5432092 w 6097588"/>
              <a:gd name="connsiteY220" fmla="*/ 893369 h 6858000"/>
              <a:gd name="connsiteX221" fmla="*/ 5395495 w 6097588"/>
              <a:gd name="connsiteY221" fmla="*/ 866623 h 6858000"/>
              <a:gd name="connsiteX222" fmla="*/ 5334967 w 6097588"/>
              <a:gd name="connsiteY222" fmla="*/ 801873 h 6858000"/>
              <a:gd name="connsiteX223" fmla="*/ 5220948 w 6097588"/>
              <a:gd name="connsiteY223" fmla="*/ 856770 h 6858000"/>
              <a:gd name="connsiteX224" fmla="*/ 5192796 w 6097588"/>
              <a:gd name="connsiteY224" fmla="*/ 749791 h 6858000"/>
              <a:gd name="connsiteX225" fmla="*/ 5412387 w 6097588"/>
              <a:gd name="connsiteY225" fmla="*/ 530201 h 6858000"/>
              <a:gd name="connsiteX226" fmla="*/ 5413794 w 6097588"/>
              <a:gd name="connsiteY226" fmla="*/ 511901 h 6858000"/>
              <a:gd name="connsiteX227" fmla="*/ 5174497 w 6097588"/>
              <a:gd name="connsiteY227" fmla="*/ 751198 h 6858000"/>
              <a:gd name="connsiteX228" fmla="*/ 5413794 w 6097588"/>
              <a:gd name="connsiteY228" fmla="*/ 990494 h 6858000"/>
              <a:gd name="connsiteX229" fmla="*/ 5653090 w 6097588"/>
              <a:gd name="connsiteY229" fmla="*/ 751198 h 6858000"/>
              <a:gd name="connsiteX230" fmla="*/ 5413794 w 6097588"/>
              <a:gd name="connsiteY230" fmla="*/ 511901 h 6858000"/>
              <a:gd name="connsiteX231" fmla="*/ 0 w 6097588"/>
              <a:gd name="connsiteY231" fmla="*/ 0 h 6858000"/>
              <a:gd name="connsiteX232" fmla="*/ 6097588 w 6097588"/>
              <a:gd name="connsiteY232" fmla="*/ 0 h 6858000"/>
              <a:gd name="connsiteX233" fmla="*/ 6097588 w 6097588"/>
              <a:gd name="connsiteY233" fmla="*/ 6858000 h 6858000"/>
              <a:gd name="connsiteX234" fmla="*/ 0 w 6097588"/>
              <a:gd name="connsiteY23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</a:cxnLst>
            <a:rect l="l" t="t" r="r" b="b"/>
            <a:pathLst>
              <a:path w="6097588" h="6858000">
                <a:moveTo>
                  <a:pt x="5520773" y="766683"/>
                </a:moveTo>
                <a:cubicBezTo>
                  <a:pt x="5515142" y="766683"/>
                  <a:pt x="5510920" y="770905"/>
                  <a:pt x="5510920" y="776535"/>
                </a:cubicBezTo>
                <a:cubicBezTo>
                  <a:pt x="5510920" y="782166"/>
                  <a:pt x="5515142" y="786388"/>
                  <a:pt x="5520773" y="786388"/>
                </a:cubicBezTo>
                <a:cubicBezTo>
                  <a:pt x="5526404" y="784981"/>
                  <a:pt x="5530627" y="780759"/>
                  <a:pt x="5530627" y="776535"/>
                </a:cubicBezTo>
                <a:cubicBezTo>
                  <a:pt x="5530627" y="770905"/>
                  <a:pt x="5526404" y="766683"/>
                  <a:pt x="5520773" y="766683"/>
                </a:cubicBezTo>
                <a:close/>
                <a:moveTo>
                  <a:pt x="4967577" y="714599"/>
                </a:moveTo>
                <a:cubicBezTo>
                  <a:pt x="4998544" y="714599"/>
                  <a:pt x="5015436" y="741343"/>
                  <a:pt x="5015436" y="770903"/>
                </a:cubicBezTo>
                <a:lnTo>
                  <a:pt x="5015436" y="773720"/>
                </a:lnTo>
                <a:lnTo>
                  <a:pt x="5014029" y="773720"/>
                </a:lnTo>
                <a:lnTo>
                  <a:pt x="4908456" y="773720"/>
                </a:lnTo>
                <a:cubicBezTo>
                  <a:pt x="4914087" y="731491"/>
                  <a:pt x="4938016" y="714599"/>
                  <a:pt x="4967577" y="714599"/>
                </a:cubicBezTo>
                <a:close/>
                <a:moveTo>
                  <a:pt x="5339366" y="690142"/>
                </a:moveTo>
                <a:cubicBezTo>
                  <a:pt x="5344820" y="689263"/>
                  <a:pt x="5349747" y="689966"/>
                  <a:pt x="5354674" y="692078"/>
                </a:cubicBezTo>
                <a:lnTo>
                  <a:pt x="5356081" y="692078"/>
                </a:lnTo>
                <a:cubicBezTo>
                  <a:pt x="5356081" y="692078"/>
                  <a:pt x="5356081" y="693485"/>
                  <a:pt x="5354674" y="693485"/>
                </a:cubicBezTo>
                <a:cubicBezTo>
                  <a:pt x="5351857" y="699116"/>
                  <a:pt x="5346228" y="706155"/>
                  <a:pt x="5334967" y="710377"/>
                </a:cubicBezTo>
                <a:cubicBezTo>
                  <a:pt x="5327928" y="713192"/>
                  <a:pt x="5323706" y="714599"/>
                  <a:pt x="5318075" y="714599"/>
                </a:cubicBezTo>
                <a:cubicBezTo>
                  <a:pt x="5311036" y="714599"/>
                  <a:pt x="5305406" y="713192"/>
                  <a:pt x="5303999" y="711785"/>
                </a:cubicBezTo>
                <a:cubicBezTo>
                  <a:pt x="5303999" y="711785"/>
                  <a:pt x="5311036" y="704746"/>
                  <a:pt x="5320891" y="697709"/>
                </a:cubicBezTo>
                <a:cubicBezTo>
                  <a:pt x="5327929" y="693486"/>
                  <a:pt x="5333911" y="691022"/>
                  <a:pt x="5339366" y="690142"/>
                </a:cubicBezTo>
                <a:close/>
                <a:moveTo>
                  <a:pt x="4590333" y="686446"/>
                </a:moveTo>
                <a:lnTo>
                  <a:pt x="4590333" y="913075"/>
                </a:lnTo>
                <a:lnTo>
                  <a:pt x="4629745" y="913075"/>
                </a:lnTo>
                <a:lnTo>
                  <a:pt x="4629745" y="686446"/>
                </a:lnTo>
                <a:close/>
                <a:moveTo>
                  <a:pt x="3840067" y="686446"/>
                </a:moveTo>
                <a:lnTo>
                  <a:pt x="3923115" y="913075"/>
                </a:lnTo>
                <a:lnTo>
                  <a:pt x="3921708" y="920112"/>
                </a:lnTo>
                <a:cubicBezTo>
                  <a:pt x="3914671" y="941228"/>
                  <a:pt x="3903410" y="959526"/>
                  <a:pt x="3878072" y="959526"/>
                </a:cubicBezTo>
                <a:cubicBezTo>
                  <a:pt x="3869626" y="959526"/>
                  <a:pt x="3859772" y="958119"/>
                  <a:pt x="3852735" y="956711"/>
                </a:cubicBezTo>
                <a:lnTo>
                  <a:pt x="3852735" y="987679"/>
                </a:lnTo>
                <a:cubicBezTo>
                  <a:pt x="3861180" y="990494"/>
                  <a:pt x="3868218" y="991901"/>
                  <a:pt x="3880888" y="991901"/>
                </a:cubicBezTo>
                <a:cubicBezTo>
                  <a:pt x="3924524" y="990494"/>
                  <a:pt x="3944231" y="972196"/>
                  <a:pt x="3958307" y="931373"/>
                </a:cubicBezTo>
                <a:lnTo>
                  <a:pt x="4041358" y="686446"/>
                </a:lnTo>
                <a:lnTo>
                  <a:pt x="4000535" y="686446"/>
                </a:lnTo>
                <a:lnTo>
                  <a:pt x="3945638" y="862399"/>
                </a:lnTo>
                <a:lnTo>
                  <a:pt x="3944231" y="862399"/>
                </a:lnTo>
                <a:lnTo>
                  <a:pt x="3882294" y="686446"/>
                </a:lnTo>
                <a:close/>
                <a:moveTo>
                  <a:pt x="4763471" y="683631"/>
                </a:moveTo>
                <a:cubicBezTo>
                  <a:pt x="4717020" y="683631"/>
                  <a:pt x="4684643" y="703338"/>
                  <a:pt x="4684643" y="746974"/>
                </a:cubicBezTo>
                <a:cubicBezTo>
                  <a:pt x="4684643" y="782166"/>
                  <a:pt x="4708574" y="800465"/>
                  <a:pt x="4745171" y="813133"/>
                </a:cubicBezTo>
                <a:cubicBezTo>
                  <a:pt x="4776139" y="824394"/>
                  <a:pt x="4791622" y="830024"/>
                  <a:pt x="4791622" y="851138"/>
                </a:cubicBezTo>
                <a:cubicBezTo>
                  <a:pt x="4791622" y="875069"/>
                  <a:pt x="4774730" y="884922"/>
                  <a:pt x="4743764" y="884922"/>
                </a:cubicBezTo>
                <a:cubicBezTo>
                  <a:pt x="4722650" y="884922"/>
                  <a:pt x="4695904" y="877884"/>
                  <a:pt x="4681828" y="870845"/>
                </a:cubicBezTo>
                <a:lnTo>
                  <a:pt x="4681828" y="903222"/>
                </a:lnTo>
                <a:cubicBezTo>
                  <a:pt x="4698719" y="911666"/>
                  <a:pt x="4725464" y="915890"/>
                  <a:pt x="4749395" y="915890"/>
                </a:cubicBezTo>
                <a:cubicBezTo>
                  <a:pt x="4797253" y="915890"/>
                  <a:pt x="4829630" y="890552"/>
                  <a:pt x="4829630" y="848323"/>
                </a:cubicBezTo>
                <a:cubicBezTo>
                  <a:pt x="4829630" y="803280"/>
                  <a:pt x="4793031" y="789203"/>
                  <a:pt x="4762063" y="779349"/>
                </a:cubicBezTo>
                <a:cubicBezTo>
                  <a:pt x="4736725" y="769496"/>
                  <a:pt x="4724057" y="762459"/>
                  <a:pt x="4724057" y="744159"/>
                </a:cubicBezTo>
                <a:cubicBezTo>
                  <a:pt x="4724057" y="725860"/>
                  <a:pt x="4738133" y="714599"/>
                  <a:pt x="4764878" y="714599"/>
                </a:cubicBezTo>
                <a:cubicBezTo>
                  <a:pt x="4785994" y="714599"/>
                  <a:pt x="4808514" y="721636"/>
                  <a:pt x="4819775" y="727267"/>
                </a:cubicBezTo>
                <a:lnTo>
                  <a:pt x="4819775" y="693485"/>
                </a:lnTo>
                <a:cubicBezTo>
                  <a:pt x="4808514" y="689261"/>
                  <a:pt x="4787400" y="683631"/>
                  <a:pt x="4763471" y="683631"/>
                </a:cubicBezTo>
                <a:close/>
                <a:moveTo>
                  <a:pt x="4180712" y="683631"/>
                </a:moveTo>
                <a:cubicBezTo>
                  <a:pt x="4151152" y="683631"/>
                  <a:pt x="4128630" y="696301"/>
                  <a:pt x="4115962" y="704746"/>
                </a:cubicBezTo>
                <a:lnTo>
                  <a:pt x="4115962" y="686446"/>
                </a:lnTo>
                <a:lnTo>
                  <a:pt x="4076548" y="686446"/>
                </a:lnTo>
                <a:lnTo>
                  <a:pt x="4076548" y="913075"/>
                </a:lnTo>
                <a:lnTo>
                  <a:pt x="4115962" y="913075"/>
                </a:lnTo>
                <a:lnTo>
                  <a:pt x="4115962" y="731491"/>
                </a:lnTo>
                <a:cubicBezTo>
                  <a:pt x="4127221" y="723045"/>
                  <a:pt x="4144113" y="714599"/>
                  <a:pt x="4161005" y="714599"/>
                </a:cubicBezTo>
                <a:cubicBezTo>
                  <a:pt x="4189158" y="714599"/>
                  <a:pt x="4204641" y="730082"/>
                  <a:pt x="4204641" y="766681"/>
                </a:cubicBezTo>
                <a:lnTo>
                  <a:pt x="4204641" y="911666"/>
                </a:lnTo>
                <a:lnTo>
                  <a:pt x="4244055" y="911666"/>
                </a:lnTo>
                <a:lnTo>
                  <a:pt x="4244055" y="758235"/>
                </a:lnTo>
                <a:cubicBezTo>
                  <a:pt x="4244055" y="745567"/>
                  <a:pt x="4241240" y="734306"/>
                  <a:pt x="4239833" y="728676"/>
                </a:cubicBezTo>
                <a:cubicBezTo>
                  <a:pt x="4251094" y="723045"/>
                  <a:pt x="4269393" y="714599"/>
                  <a:pt x="4287692" y="714599"/>
                </a:cubicBezTo>
                <a:cubicBezTo>
                  <a:pt x="4325697" y="714599"/>
                  <a:pt x="4334143" y="735713"/>
                  <a:pt x="4334143" y="768090"/>
                </a:cubicBezTo>
                <a:lnTo>
                  <a:pt x="4334143" y="913075"/>
                </a:lnTo>
                <a:lnTo>
                  <a:pt x="4373557" y="913075"/>
                </a:lnTo>
                <a:lnTo>
                  <a:pt x="4373557" y="763866"/>
                </a:lnTo>
                <a:cubicBezTo>
                  <a:pt x="4373557" y="717414"/>
                  <a:pt x="4353850" y="683631"/>
                  <a:pt x="4301768" y="683631"/>
                </a:cubicBezTo>
                <a:cubicBezTo>
                  <a:pt x="4273615" y="683631"/>
                  <a:pt x="4249686" y="693485"/>
                  <a:pt x="4231387" y="707560"/>
                </a:cubicBezTo>
                <a:cubicBezTo>
                  <a:pt x="4220126" y="693485"/>
                  <a:pt x="4201826" y="683631"/>
                  <a:pt x="4180712" y="683631"/>
                </a:cubicBezTo>
                <a:close/>
                <a:moveTo>
                  <a:pt x="3754201" y="683631"/>
                </a:moveTo>
                <a:cubicBezTo>
                  <a:pt x="3707750" y="683631"/>
                  <a:pt x="3675375" y="703338"/>
                  <a:pt x="3675375" y="746974"/>
                </a:cubicBezTo>
                <a:cubicBezTo>
                  <a:pt x="3675375" y="782166"/>
                  <a:pt x="3699304" y="800465"/>
                  <a:pt x="3737309" y="813133"/>
                </a:cubicBezTo>
                <a:cubicBezTo>
                  <a:pt x="3768278" y="824394"/>
                  <a:pt x="3783761" y="830024"/>
                  <a:pt x="3783761" y="851138"/>
                </a:cubicBezTo>
                <a:cubicBezTo>
                  <a:pt x="3783761" y="875069"/>
                  <a:pt x="3766869" y="884922"/>
                  <a:pt x="3735901" y="884922"/>
                </a:cubicBezTo>
                <a:cubicBezTo>
                  <a:pt x="3714787" y="884922"/>
                  <a:pt x="3688042" y="877884"/>
                  <a:pt x="3673966" y="870845"/>
                </a:cubicBezTo>
                <a:lnTo>
                  <a:pt x="3673966" y="903222"/>
                </a:lnTo>
                <a:cubicBezTo>
                  <a:pt x="3690858" y="911666"/>
                  <a:pt x="3717602" y="915890"/>
                  <a:pt x="3741531" y="915890"/>
                </a:cubicBezTo>
                <a:cubicBezTo>
                  <a:pt x="3789391" y="915890"/>
                  <a:pt x="3821766" y="890552"/>
                  <a:pt x="3821766" y="848323"/>
                </a:cubicBezTo>
                <a:cubicBezTo>
                  <a:pt x="3821766" y="803280"/>
                  <a:pt x="3785169" y="789203"/>
                  <a:pt x="3754201" y="779349"/>
                </a:cubicBezTo>
                <a:cubicBezTo>
                  <a:pt x="3727455" y="769496"/>
                  <a:pt x="3714787" y="762459"/>
                  <a:pt x="3714787" y="744159"/>
                </a:cubicBezTo>
                <a:cubicBezTo>
                  <a:pt x="3714787" y="725860"/>
                  <a:pt x="3728863" y="714599"/>
                  <a:pt x="3755608" y="714599"/>
                </a:cubicBezTo>
                <a:cubicBezTo>
                  <a:pt x="3776723" y="714599"/>
                  <a:pt x="3799244" y="721636"/>
                  <a:pt x="3810505" y="727267"/>
                </a:cubicBezTo>
                <a:lnTo>
                  <a:pt x="3810505" y="693485"/>
                </a:lnTo>
                <a:cubicBezTo>
                  <a:pt x="3799244" y="689261"/>
                  <a:pt x="3778130" y="683631"/>
                  <a:pt x="3754201" y="683631"/>
                </a:cubicBezTo>
                <a:close/>
                <a:moveTo>
                  <a:pt x="4967577" y="682224"/>
                </a:moveTo>
                <a:cubicBezTo>
                  <a:pt x="4902826" y="682224"/>
                  <a:pt x="4866227" y="731491"/>
                  <a:pt x="4866227" y="799056"/>
                </a:cubicBezTo>
                <a:cubicBezTo>
                  <a:pt x="4866227" y="868030"/>
                  <a:pt x="4901419" y="915890"/>
                  <a:pt x="4976023" y="915890"/>
                </a:cubicBezTo>
                <a:cubicBezTo>
                  <a:pt x="5001359" y="915890"/>
                  <a:pt x="5028105" y="908853"/>
                  <a:pt x="5040773" y="903222"/>
                </a:cubicBezTo>
                <a:lnTo>
                  <a:pt x="5040773" y="870845"/>
                </a:lnTo>
                <a:cubicBezTo>
                  <a:pt x="5025290" y="879291"/>
                  <a:pt x="5004174" y="884922"/>
                  <a:pt x="4977430" y="884922"/>
                </a:cubicBezTo>
                <a:cubicBezTo>
                  <a:pt x="4926755" y="884922"/>
                  <a:pt x="4907049" y="851138"/>
                  <a:pt x="4907049" y="800465"/>
                </a:cubicBezTo>
                <a:lnTo>
                  <a:pt x="5054850" y="800465"/>
                </a:lnTo>
                <a:cubicBezTo>
                  <a:pt x="5054850" y="794834"/>
                  <a:pt x="5054850" y="789203"/>
                  <a:pt x="5054850" y="782166"/>
                </a:cubicBezTo>
                <a:cubicBezTo>
                  <a:pt x="5054850" y="732898"/>
                  <a:pt x="5032327" y="682224"/>
                  <a:pt x="4967577" y="682224"/>
                </a:cubicBezTo>
                <a:close/>
                <a:moveTo>
                  <a:pt x="4529803" y="682224"/>
                </a:moveTo>
                <a:cubicBezTo>
                  <a:pt x="4504467" y="682224"/>
                  <a:pt x="4486167" y="693485"/>
                  <a:pt x="4473499" y="708968"/>
                </a:cubicBezTo>
                <a:lnTo>
                  <a:pt x="4473499" y="685039"/>
                </a:lnTo>
                <a:lnTo>
                  <a:pt x="4434085" y="685039"/>
                </a:lnTo>
                <a:lnTo>
                  <a:pt x="4434085" y="911666"/>
                </a:lnTo>
                <a:lnTo>
                  <a:pt x="4473499" y="911666"/>
                </a:lnTo>
                <a:lnTo>
                  <a:pt x="4473499" y="738528"/>
                </a:lnTo>
                <a:cubicBezTo>
                  <a:pt x="4486167" y="728676"/>
                  <a:pt x="4500244" y="718823"/>
                  <a:pt x="4525581" y="718823"/>
                </a:cubicBezTo>
                <a:cubicBezTo>
                  <a:pt x="4535434" y="718823"/>
                  <a:pt x="4543880" y="720230"/>
                  <a:pt x="4549510" y="721636"/>
                </a:cubicBezTo>
                <a:lnTo>
                  <a:pt x="4549510" y="685039"/>
                </a:lnTo>
                <a:cubicBezTo>
                  <a:pt x="4543880" y="683631"/>
                  <a:pt x="4535434" y="682224"/>
                  <a:pt x="4529803" y="682224"/>
                </a:cubicBezTo>
                <a:close/>
                <a:moveTo>
                  <a:pt x="5365934" y="609028"/>
                </a:moveTo>
                <a:cubicBezTo>
                  <a:pt x="5372973" y="609028"/>
                  <a:pt x="5378603" y="613250"/>
                  <a:pt x="5378603" y="618881"/>
                </a:cubicBezTo>
                <a:cubicBezTo>
                  <a:pt x="5378603" y="624511"/>
                  <a:pt x="5372973" y="628735"/>
                  <a:pt x="5365934" y="628735"/>
                </a:cubicBezTo>
                <a:cubicBezTo>
                  <a:pt x="5358896" y="628735"/>
                  <a:pt x="5353266" y="624511"/>
                  <a:pt x="5353266" y="618881"/>
                </a:cubicBezTo>
                <a:cubicBezTo>
                  <a:pt x="5353266" y="613250"/>
                  <a:pt x="5358896" y="609028"/>
                  <a:pt x="5365934" y="609028"/>
                </a:cubicBezTo>
                <a:close/>
                <a:moveTo>
                  <a:pt x="4610038" y="593543"/>
                </a:moveTo>
                <a:cubicBezTo>
                  <a:pt x="4594555" y="593543"/>
                  <a:pt x="4583294" y="604804"/>
                  <a:pt x="4583294" y="618881"/>
                </a:cubicBezTo>
                <a:cubicBezTo>
                  <a:pt x="4583294" y="632957"/>
                  <a:pt x="4594555" y="644217"/>
                  <a:pt x="4610038" y="644217"/>
                </a:cubicBezTo>
                <a:cubicBezTo>
                  <a:pt x="4624115" y="644217"/>
                  <a:pt x="4636785" y="632957"/>
                  <a:pt x="4636785" y="618881"/>
                </a:cubicBezTo>
                <a:cubicBezTo>
                  <a:pt x="4636785" y="604804"/>
                  <a:pt x="4624115" y="593543"/>
                  <a:pt x="4610038" y="593543"/>
                </a:cubicBezTo>
                <a:close/>
                <a:moveTo>
                  <a:pt x="5412387" y="530201"/>
                </a:moveTo>
                <a:cubicBezTo>
                  <a:pt x="5478544" y="530201"/>
                  <a:pt x="5537665" y="559761"/>
                  <a:pt x="5578486" y="606213"/>
                </a:cubicBezTo>
                <a:cubicBezTo>
                  <a:pt x="5603823" y="638588"/>
                  <a:pt x="5599601" y="665332"/>
                  <a:pt x="5582709" y="679409"/>
                </a:cubicBezTo>
                <a:cubicBezTo>
                  <a:pt x="5561596" y="694894"/>
                  <a:pt x="5533443" y="689263"/>
                  <a:pt x="5529219" y="676593"/>
                </a:cubicBezTo>
                <a:cubicBezTo>
                  <a:pt x="5527812" y="669556"/>
                  <a:pt x="5533443" y="666741"/>
                  <a:pt x="5533443" y="666741"/>
                </a:cubicBezTo>
                <a:cubicBezTo>
                  <a:pt x="5534849" y="665332"/>
                  <a:pt x="5537665" y="665332"/>
                  <a:pt x="5540480" y="665332"/>
                </a:cubicBezTo>
                <a:cubicBezTo>
                  <a:pt x="5544704" y="665332"/>
                  <a:pt x="5544704" y="662517"/>
                  <a:pt x="5541888" y="661110"/>
                </a:cubicBezTo>
                <a:cubicBezTo>
                  <a:pt x="5537665" y="658295"/>
                  <a:pt x="5530627" y="655479"/>
                  <a:pt x="5524997" y="655479"/>
                </a:cubicBezTo>
                <a:cubicBezTo>
                  <a:pt x="5516551" y="655479"/>
                  <a:pt x="5503881" y="656888"/>
                  <a:pt x="5503881" y="656888"/>
                </a:cubicBezTo>
                <a:cubicBezTo>
                  <a:pt x="5501066" y="656888"/>
                  <a:pt x="5498252" y="655479"/>
                  <a:pt x="5495435" y="654071"/>
                </a:cubicBezTo>
                <a:cubicBezTo>
                  <a:pt x="5494028" y="652664"/>
                  <a:pt x="5492620" y="651256"/>
                  <a:pt x="5492620" y="649849"/>
                </a:cubicBezTo>
                <a:cubicBezTo>
                  <a:pt x="5491213" y="642812"/>
                  <a:pt x="5495435" y="641403"/>
                  <a:pt x="5495435" y="641403"/>
                </a:cubicBezTo>
                <a:cubicBezTo>
                  <a:pt x="5496844" y="639996"/>
                  <a:pt x="5501066" y="638588"/>
                  <a:pt x="5503881" y="639996"/>
                </a:cubicBezTo>
                <a:cubicBezTo>
                  <a:pt x="5508105" y="639996"/>
                  <a:pt x="5508105" y="637181"/>
                  <a:pt x="5505290" y="635772"/>
                </a:cubicBezTo>
                <a:cubicBezTo>
                  <a:pt x="5501066" y="632957"/>
                  <a:pt x="5494028" y="630142"/>
                  <a:pt x="5488398" y="630142"/>
                </a:cubicBezTo>
                <a:cubicBezTo>
                  <a:pt x="5479952" y="630142"/>
                  <a:pt x="5467284" y="631550"/>
                  <a:pt x="5467284" y="631550"/>
                </a:cubicBezTo>
                <a:cubicBezTo>
                  <a:pt x="5464469" y="631550"/>
                  <a:pt x="5461654" y="630142"/>
                  <a:pt x="5458838" y="628735"/>
                </a:cubicBezTo>
                <a:cubicBezTo>
                  <a:pt x="5457430" y="627327"/>
                  <a:pt x="5456023" y="625920"/>
                  <a:pt x="5456023" y="624511"/>
                </a:cubicBezTo>
                <a:cubicBezTo>
                  <a:pt x="5454614" y="617474"/>
                  <a:pt x="5458838" y="614659"/>
                  <a:pt x="5458838" y="614659"/>
                </a:cubicBezTo>
                <a:cubicBezTo>
                  <a:pt x="5460245" y="613250"/>
                  <a:pt x="5463060" y="611843"/>
                  <a:pt x="5467284" y="613250"/>
                </a:cubicBezTo>
                <a:cubicBezTo>
                  <a:pt x="5471506" y="613250"/>
                  <a:pt x="5471506" y="610435"/>
                  <a:pt x="5468691" y="609028"/>
                </a:cubicBezTo>
                <a:cubicBezTo>
                  <a:pt x="5464469" y="606213"/>
                  <a:pt x="5457430" y="603397"/>
                  <a:pt x="5451799" y="603397"/>
                </a:cubicBezTo>
                <a:cubicBezTo>
                  <a:pt x="5443353" y="603397"/>
                  <a:pt x="5430685" y="604804"/>
                  <a:pt x="5430685" y="604804"/>
                </a:cubicBezTo>
                <a:cubicBezTo>
                  <a:pt x="5429277" y="604804"/>
                  <a:pt x="5426463" y="604804"/>
                  <a:pt x="5426463" y="603397"/>
                </a:cubicBezTo>
                <a:cubicBezTo>
                  <a:pt x="5425055" y="601989"/>
                  <a:pt x="5425055" y="601989"/>
                  <a:pt x="5425055" y="600582"/>
                </a:cubicBezTo>
                <a:cubicBezTo>
                  <a:pt x="5425055" y="599174"/>
                  <a:pt x="5425055" y="596358"/>
                  <a:pt x="5426463" y="593545"/>
                </a:cubicBezTo>
                <a:cubicBezTo>
                  <a:pt x="5427870" y="587912"/>
                  <a:pt x="5429277" y="582282"/>
                  <a:pt x="5427870" y="573836"/>
                </a:cubicBezTo>
                <a:cubicBezTo>
                  <a:pt x="5426463" y="558353"/>
                  <a:pt x="5418017" y="552722"/>
                  <a:pt x="5415200" y="551315"/>
                </a:cubicBezTo>
                <a:cubicBezTo>
                  <a:pt x="5412387" y="549907"/>
                  <a:pt x="5410978" y="549907"/>
                  <a:pt x="5410978" y="549907"/>
                </a:cubicBezTo>
                <a:cubicBezTo>
                  <a:pt x="5410978" y="549907"/>
                  <a:pt x="5409571" y="552722"/>
                  <a:pt x="5409571" y="555537"/>
                </a:cubicBezTo>
                <a:cubicBezTo>
                  <a:pt x="5408163" y="566799"/>
                  <a:pt x="5406756" y="589321"/>
                  <a:pt x="5384234" y="589321"/>
                </a:cubicBezTo>
                <a:cubicBezTo>
                  <a:pt x="5381418" y="589321"/>
                  <a:pt x="5378603" y="589321"/>
                  <a:pt x="5375788" y="589321"/>
                </a:cubicBezTo>
                <a:cubicBezTo>
                  <a:pt x="5374379" y="589321"/>
                  <a:pt x="5371564" y="589321"/>
                  <a:pt x="5370157" y="589321"/>
                </a:cubicBezTo>
                <a:cubicBezTo>
                  <a:pt x="5368749" y="589321"/>
                  <a:pt x="5368749" y="589321"/>
                  <a:pt x="5367342" y="589321"/>
                </a:cubicBezTo>
                <a:cubicBezTo>
                  <a:pt x="5365934" y="589321"/>
                  <a:pt x="5363120" y="589321"/>
                  <a:pt x="5361711" y="589321"/>
                </a:cubicBezTo>
                <a:cubicBezTo>
                  <a:pt x="5358896" y="589321"/>
                  <a:pt x="5356081" y="589321"/>
                  <a:pt x="5353266" y="590728"/>
                </a:cubicBezTo>
                <a:cubicBezTo>
                  <a:pt x="5342004" y="593545"/>
                  <a:pt x="5334967" y="600582"/>
                  <a:pt x="5333558" y="610435"/>
                </a:cubicBezTo>
                <a:cubicBezTo>
                  <a:pt x="5333558" y="611843"/>
                  <a:pt x="5333558" y="611843"/>
                  <a:pt x="5333558" y="613250"/>
                </a:cubicBezTo>
                <a:cubicBezTo>
                  <a:pt x="5333558" y="614659"/>
                  <a:pt x="5333558" y="617474"/>
                  <a:pt x="5330743" y="617474"/>
                </a:cubicBezTo>
                <a:cubicBezTo>
                  <a:pt x="5330743" y="617474"/>
                  <a:pt x="5326521" y="618881"/>
                  <a:pt x="5319482" y="618881"/>
                </a:cubicBezTo>
                <a:cubicBezTo>
                  <a:pt x="5294146" y="621696"/>
                  <a:pt x="5284292" y="611843"/>
                  <a:pt x="5277254" y="607620"/>
                </a:cubicBezTo>
                <a:cubicBezTo>
                  <a:pt x="5275846" y="607620"/>
                  <a:pt x="5274439" y="606213"/>
                  <a:pt x="5274439" y="606213"/>
                </a:cubicBezTo>
                <a:cubicBezTo>
                  <a:pt x="5274439" y="606213"/>
                  <a:pt x="5274439" y="606213"/>
                  <a:pt x="5273031" y="607620"/>
                </a:cubicBezTo>
                <a:cubicBezTo>
                  <a:pt x="5268808" y="611843"/>
                  <a:pt x="5261769" y="624511"/>
                  <a:pt x="5261769" y="637181"/>
                </a:cubicBezTo>
                <a:cubicBezTo>
                  <a:pt x="5263178" y="658295"/>
                  <a:pt x="5277254" y="670963"/>
                  <a:pt x="5281476" y="673778"/>
                </a:cubicBezTo>
                <a:cubicBezTo>
                  <a:pt x="5285700" y="676593"/>
                  <a:pt x="5288514" y="678002"/>
                  <a:pt x="5288514" y="678002"/>
                </a:cubicBezTo>
                <a:cubicBezTo>
                  <a:pt x="5288514" y="678002"/>
                  <a:pt x="5288514" y="676593"/>
                  <a:pt x="5288514" y="675187"/>
                </a:cubicBezTo>
                <a:cubicBezTo>
                  <a:pt x="5288514" y="672371"/>
                  <a:pt x="5288514" y="669556"/>
                  <a:pt x="5291331" y="665332"/>
                </a:cubicBezTo>
                <a:cubicBezTo>
                  <a:pt x="5296960" y="655479"/>
                  <a:pt x="5305406" y="659702"/>
                  <a:pt x="5309629" y="661110"/>
                </a:cubicBezTo>
                <a:cubicBezTo>
                  <a:pt x="5311036" y="661110"/>
                  <a:pt x="5311036" y="661110"/>
                  <a:pt x="5311036" y="662517"/>
                </a:cubicBezTo>
                <a:cubicBezTo>
                  <a:pt x="5315260" y="663925"/>
                  <a:pt x="5319482" y="666741"/>
                  <a:pt x="5323706" y="666741"/>
                </a:cubicBezTo>
                <a:cubicBezTo>
                  <a:pt x="5327928" y="666741"/>
                  <a:pt x="5333558" y="663925"/>
                  <a:pt x="5336374" y="662517"/>
                </a:cubicBezTo>
                <a:cubicBezTo>
                  <a:pt x="5343413" y="659702"/>
                  <a:pt x="5350450" y="658295"/>
                  <a:pt x="5354674" y="662517"/>
                </a:cubicBezTo>
                <a:cubicBezTo>
                  <a:pt x="5358896" y="666741"/>
                  <a:pt x="5357489" y="676593"/>
                  <a:pt x="5357489" y="678002"/>
                </a:cubicBezTo>
                <a:lnTo>
                  <a:pt x="5357489" y="679409"/>
                </a:lnTo>
                <a:lnTo>
                  <a:pt x="5356081" y="679409"/>
                </a:lnTo>
                <a:cubicBezTo>
                  <a:pt x="5340598" y="673778"/>
                  <a:pt x="5334967" y="675187"/>
                  <a:pt x="5322297" y="676593"/>
                </a:cubicBezTo>
                <a:cubicBezTo>
                  <a:pt x="5315260" y="678002"/>
                  <a:pt x="5308221" y="682224"/>
                  <a:pt x="5302590" y="685039"/>
                </a:cubicBezTo>
                <a:cubicBezTo>
                  <a:pt x="5289922" y="692078"/>
                  <a:pt x="5284292" y="697709"/>
                  <a:pt x="5268808" y="692078"/>
                </a:cubicBezTo>
                <a:cubicBezTo>
                  <a:pt x="5254732" y="686448"/>
                  <a:pt x="5250508" y="678002"/>
                  <a:pt x="5247693" y="672371"/>
                </a:cubicBezTo>
                <a:cubicBezTo>
                  <a:pt x="5246286" y="670963"/>
                  <a:pt x="5246286" y="669556"/>
                  <a:pt x="5246286" y="669556"/>
                </a:cubicBezTo>
                <a:cubicBezTo>
                  <a:pt x="5246286" y="669556"/>
                  <a:pt x="5244878" y="670963"/>
                  <a:pt x="5244878" y="673778"/>
                </a:cubicBezTo>
                <a:cubicBezTo>
                  <a:pt x="5242062" y="680817"/>
                  <a:pt x="5242062" y="694894"/>
                  <a:pt x="5253323" y="707561"/>
                </a:cubicBezTo>
                <a:cubicBezTo>
                  <a:pt x="5268808" y="725860"/>
                  <a:pt x="5284292" y="718823"/>
                  <a:pt x="5294146" y="713192"/>
                </a:cubicBezTo>
                <a:lnTo>
                  <a:pt x="5295553" y="711785"/>
                </a:lnTo>
                <a:lnTo>
                  <a:pt x="5295553" y="713192"/>
                </a:lnTo>
                <a:cubicBezTo>
                  <a:pt x="5295553" y="716007"/>
                  <a:pt x="5296960" y="721638"/>
                  <a:pt x="5299775" y="727269"/>
                </a:cubicBezTo>
                <a:cubicBezTo>
                  <a:pt x="5302590" y="732899"/>
                  <a:pt x="5309629" y="739937"/>
                  <a:pt x="5318075" y="739937"/>
                </a:cubicBezTo>
                <a:cubicBezTo>
                  <a:pt x="5323706" y="739937"/>
                  <a:pt x="5332152" y="735715"/>
                  <a:pt x="5340598" y="730084"/>
                </a:cubicBezTo>
                <a:cubicBezTo>
                  <a:pt x="5356081" y="721638"/>
                  <a:pt x="5368749" y="710377"/>
                  <a:pt x="5388456" y="713192"/>
                </a:cubicBezTo>
                <a:cubicBezTo>
                  <a:pt x="5419424" y="718823"/>
                  <a:pt x="5444762" y="765274"/>
                  <a:pt x="5456023" y="786388"/>
                </a:cubicBezTo>
                <a:cubicBezTo>
                  <a:pt x="5458838" y="790612"/>
                  <a:pt x="5460245" y="794834"/>
                  <a:pt x="5461654" y="796242"/>
                </a:cubicBezTo>
                <a:cubicBezTo>
                  <a:pt x="5461654" y="796242"/>
                  <a:pt x="5461654" y="796242"/>
                  <a:pt x="5461654" y="797649"/>
                </a:cubicBezTo>
                <a:cubicBezTo>
                  <a:pt x="5463060" y="799058"/>
                  <a:pt x="5465876" y="803280"/>
                  <a:pt x="5467284" y="801873"/>
                </a:cubicBezTo>
                <a:cubicBezTo>
                  <a:pt x="5470099" y="800464"/>
                  <a:pt x="5470099" y="797649"/>
                  <a:pt x="5470099" y="797649"/>
                </a:cubicBezTo>
                <a:cubicBezTo>
                  <a:pt x="5472915" y="772313"/>
                  <a:pt x="5489806" y="762459"/>
                  <a:pt x="5499659" y="758237"/>
                </a:cubicBezTo>
                <a:cubicBezTo>
                  <a:pt x="5509512" y="754013"/>
                  <a:pt x="5519366" y="754013"/>
                  <a:pt x="5526404" y="754013"/>
                </a:cubicBezTo>
                <a:cubicBezTo>
                  <a:pt x="5527812" y="754013"/>
                  <a:pt x="5527812" y="754013"/>
                  <a:pt x="5529219" y="754013"/>
                </a:cubicBezTo>
                <a:cubicBezTo>
                  <a:pt x="5534849" y="754013"/>
                  <a:pt x="5543295" y="749791"/>
                  <a:pt x="5554556" y="744160"/>
                </a:cubicBezTo>
                <a:cubicBezTo>
                  <a:pt x="5571448" y="735715"/>
                  <a:pt x="5593971" y="724453"/>
                  <a:pt x="5622122" y="718823"/>
                </a:cubicBezTo>
                <a:cubicBezTo>
                  <a:pt x="5629161" y="717414"/>
                  <a:pt x="5631976" y="718823"/>
                  <a:pt x="5631976" y="721638"/>
                </a:cubicBezTo>
                <a:cubicBezTo>
                  <a:pt x="5631976" y="723045"/>
                  <a:pt x="5631976" y="727269"/>
                  <a:pt x="5629161" y="728675"/>
                </a:cubicBezTo>
                <a:lnTo>
                  <a:pt x="5624939" y="730084"/>
                </a:lnTo>
                <a:cubicBezTo>
                  <a:pt x="5596786" y="742752"/>
                  <a:pt x="5553150" y="758237"/>
                  <a:pt x="5543295" y="789205"/>
                </a:cubicBezTo>
                <a:cubicBezTo>
                  <a:pt x="5540480" y="794834"/>
                  <a:pt x="5540480" y="801873"/>
                  <a:pt x="5540480" y="810319"/>
                </a:cubicBezTo>
                <a:cubicBezTo>
                  <a:pt x="5540480" y="813134"/>
                  <a:pt x="5540480" y="815949"/>
                  <a:pt x="5540480" y="820172"/>
                </a:cubicBezTo>
                <a:cubicBezTo>
                  <a:pt x="5540480" y="855362"/>
                  <a:pt x="5523588" y="876477"/>
                  <a:pt x="5513736" y="886330"/>
                </a:cubicBezTo>
                <a:cubicBezTo>
                  <a:pt x="5503881" y="896185"/>
                  <a:pt x="5494028" y="904629"/>
                  <a:pt x="5486989" y="908852"/>
                </a:cubicBezTo>
                <a:cubicBezTo>
                  <a:pt x="5484176" y="911668"/>
                  <a:pt x="5481361" y="913074"/>
                  <a:pt x="5481361" y="914483"/>
                </a:cubicBezTo>
                <a:cubicBezTo>
                  <a:pt x="5481361" y="914483"/>
                  <a:pt x="5478544" y="917298"/>
                  <a:pt x="5475730" y="921520"/>
                </a:cubicBezTo>
                <a:cubicBezTo>
                  <a:pt x="5468691" y="929966"/>
                  <a:pt x="5458838" y="942636"/>
                  <a:pt x="5448984" y="951082"/>
                </a:cubicBezTo>
                <a:cubicBezTo>
                  <a:pt x="5439131" y="960934"/>
                  <a:pt x="5426463" y="969380"/>
                  <a:pt x="5422239" y="969380"/>
                </a:cubicBezTo>
                <a:cubicBezTo>
                  <a:pt x="5420833" y="969380"/>
                  <a:pt x="5420833" y="969380"/>
                  <a:pt x="5420833" y="969380"/>
                </a:cubicBezTo>
                <a:cubicBezTo>
                  <a:pt x="5420833" y="969380"/>
                  <a:pt x="5419424" y="967974"/>
                  <a:pt x="5419424" y="967974"/>
                </a:cubicBezTo>
                <a:cubicBezTo>
                  <a:pt x="5419424" y="965158"/>
                  <a:pt x="5425055" y="958119"/>
                  <a:pt x="5433501" y="946858"/>
                </a:cubicBezTo>
                <a:cubicBezTo>
                  <a:pt x="5443353" y="935597"/>
                  <a:pt x="5447577" y="928560"/>
                  <a:pt x="5447577" y="927151"/>
                </a:cubicBezTo>
                <a:cubicBezTo>
                  <a:pt x="5446168" y="927151"/>
                  <a:pt x="5440538" y="929966"/>
                  <a:pt x="5433501" y="932782"/>
                </a:cubicBezTo>
                <a:cubicBezTo>
                  <a:pt x="5429277" y="934190"/>
                  <a:pt x="5425055" y="937005"/>
                  <a:pt x="5419424" y="939821"/>
                </a:cubicBezTo>
                <a:cubicBezTo>
                  <a:pt x="5399717" y="949673"/>
                  <a:pt x="5357489" y="963750"/>
                  <a:pt x="5351857" y="958119"/>
                </a:cubicBezTo>
                <a:cubicBezTo>
                  <a:pt x="5350450" y="956712"/>
                  <a:pt x="5350450" y="956712"/>
                  <a:pt x="5351857" y="955304"/>
                </a:cubicBezTo>
                <a:cubicBezTo>
                  <a:pt x="5351857" y="952489"/>
                  <a:pt x="5358896" y="949673"/>
                  <a:pt x="5371564" y="942636"/>
                </a:cubicBezTo>
                <a:cubicBezTo>
                  <a:pt x="5392680" y="932782"/>
                  <a:pt x="5425055" y="915892"/>
                  <a:pt x="5432092" y="893369"/>
                </a:cubicBezTo>
                <a:cubicBezTo>
                  <a:pt x="5427870" y="893369"/>
                  <a:pt x="5413794" y="893369"/>
                  <a:pt x="5395495" y="866623"/>
                </a:cubicBezTo>
                <a:cubicBezTo>
                  <a:pt x="5372973" y="832841"/>
                  <a:pt x="5360303" y="801873"/>
                  <a:pt x="5334967" y="801873"/>
                </a:cubicBezTo>
                <a:cubicBezTo>
                  <a:pt x="5305406" y="801873"/>
                  <a:pt x="5243471" y="842694"/>
                  <a:pt x="5220948" y="856770"/>
                </a:cubicBezTo>
                <a:cubicBezTo>
                  <a:pt x="5202650" y="824395"/>
                  <a:pt x="5192796" y="789205"/>
                  <a:pt x="5192796" y="749791"/>
                </a:cubicBezTo>
                <a:cubicBezTo>
                  <a:pt x="5192796" y="628735"/>
                  <a:pt x="5291331" y="530201"/>
                  <a:pt x="5412387" y="530201"/>
                </a:cubicBezTo>
                <a:close/>
                <a:moveTo>
                  <a:pt x="5413794" y="511901"/>
                </a:moveTo>
                <a:cubicBezTo>
                  <a:pt x="5281476" y="511901"/>
                  <a:pt x="5174497" y="618881"/>
                  <a:pt x="5174497" y="751198"/>
                </a:cubicBezTo>
                <a:cubicBezTo>
                  <a:pt x="5174497" y="883515"/>
                  <a:pt x="5281476" y="990494"/>
                  <a:pt x="5413794" y="990494"/>
                </a:cubicBezTo>
                <a:cubicBezTo>
                  <a:pt x="5546111" y="990494"/>
                  <a:pt x="5653090" y="883515"/>
                  <a:pt x="5653090" y="751198"/>
                </a:cubicBezTo>
                <a:cubicBezTo>
                  <a:pt x="5653090" y="618881"/>
                  <a:pt x="5546111" y="511901"/>
                  <a:pt x="5413794" y="511901"/>
                </a:cubicBezTo>
                <a:close/>
                <a:moveTo>
                  <a:pt x="0" y="0"/>
                </a:moveTo>
                <a:lnTo>
                  <a:pt x="6097588" y="0"/>
                </a:lnTo>
                <a:lnTo>
                  <a:pt x="609758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5496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840">
          <p15:clr>
            <a:srgbClr val="9FCC3B"/>
          </p15:clr>
        </p15:guide>
        <p15:guide id="2" orient="horz" pos="2160">
          <p15:clr>
            <a:srgbClr val="9FCC3B"/>
          </p15:clr>
        </p15:guide>
        <p15:guide id="3" pos="7401">
          <p15:clr>
            <a:srgbClr val="9FCC3B"/>
          </p15:clr>
        </p15:guide>
        <p15:guide id="4" pos="279">
          <p15:clr>
            <a:srgbClr val="9FCC3B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Half | White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807BE911-6830-494B-A69F-A1418D1D96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520012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0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807BE911-6830-494B-A69F-A1418D1D96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DBA24CDA-0092-45EF-BA53-E793036F30EF}"/>
              </a:ext>
            </a:extLst>
          </p:cNvPr>
          <p:cNvSpPr/>
          <p:nvPr/>
        </p:nvSpPr>
        <p:spPr>
          <a:xfrm>
            <a:off x="0" y="0"/>
            <a:ext cx="4572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atin typeface="+mn-l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10D2ED-3F5B-4C81-8C9A-814ECAE3AC0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41844" y="1444666"/>
            <a:ext cx="3959885" cy="923330"/>
          </a:xfrm>
        </p:spPr>
        <p:txBody>
          <a:bodyPr vert="horz" wrap="square" anchor="b">
            <a:spAutoFit/>
          </a:bodyPr>
          <a:lstStyle>
            <a:lvl1pPr algn="l">
              <a:defRPr sz="30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936775A-0DE1-49FB-B66C-8ED26CC79C56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white">
          <a:xfrm>
            <a:off x="341844" y="2437051"/>
            <a:ext cx="3959885" cy="923330"/>
          </a:xfrm>
        </p:spPr>
        <p:txBody>
          <a:bodyPr wrap="square">
            <a:spAutoFit/>
          </a:bodyPr>
          <a:lstStyle>
            <a:lvl1pPr marL="0" indent="0" algn="l">
              <a:spcBef>
                <a:spcPts val="900"/>
              </a:spcBef>
              <a:spcAft>
                <a:spcPts val="600"/>
              </a:spcAft>
              <a:buNone/>
              <a:defRPr sz="3000" b="0" i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225"/>
              </a:spcAft>
              <a:buNone/>
              <a:defRPr sz="1200" i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491DF50-53A5-4A7E-BE9B-9A7A7501F3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3191" cy="5143500"/>
          </a:xfrm>
          <a:custGeom>
            <a:avLst/>
            <a:gdLst>
              <a:gd name="connsiteX0" fmla="*/ 5520773 w 6097588"/>
              <a:gd name="connsiteY0" fmla="*/ 766683 h 6858000"/>
              <a:gd name="connsiteX1" fmla="*/ 5510920 w 6097588"/>
              <a:gd name="connsiteY1" fmla="*/ 776535 h 6858000"/>
              <a:gd name="connsiteX2" fmla="*/ 5520773 w 6097588"/>
              <a:gd name="connsiteY2" fmla="*/ 786388 h 6858000"/>
              <a:gd name="connsiteX3" fmla="*/ 5530627 w 6097588"/>
              <a:gd name="connsiteY3" fmla="*/ 776535 h 6858000"/>
              <a:gd name="connsiteX4" fmla="*/ 5520773 w 6097588"/>
              <a:gd name="connsiteY4" fmla="*/ 766683 h 6858000"/>
              <a:gd name="connsiteX5" fmla="*/ 4967577 w 6097588"/>
              <a:gd name="connsiteY5" fmla="*/ 714599 h 6858000"/>
              <a:gd name="connsiteX6" fmla="*/ 5015436 w 6097588"/>
              <a:gd name="connsiteY6" fmla="*/ 770903 h 6858000"/>
              <a:gd name="connsiteX7" fmla="*/ 5015436 w 6097588"/>
              <a:gd name="connsiteY7" fmla="*/ 773720 h 6858000"/>
              <a:gd name="connsiteX8" fmla="*/ 5014029 w 6097588"/>
              <a:gd name="connsiteY8" fmla="*/ 773720 h 6858000"/>
              <a:gd name="connsiteX9" fmla="*/ 4908456 w 6097588"/>
              <a:gd name="connsiteY9" fmla="*/ 773720 h 6858000"/>
              <a:gd name="connsiteX10" fmla="*/ 4967577 w 6097588"/>
              <a:gd name="connsiteY10" fmla="*/ 714599 h 6858000"/>
              <a:gd name="connsiteX11" fmla="*/ 5339366 w 6097588"/>
              <a:gd name="connsiteY11" fmla="*/ 690142 h 6858000"/>
              <a:gd name="connsiteX12" fmla="*/ 5354674 w 6097588"/>
              <a:gd name="connsiteY12" fmla="*/ 692078 h 6858000"/>
              <a:gd name="connsiteX13" fmla="*/ 5356081 w 6097588"/>
              <a:gd name="connsiteY13" fmla="*/ 692078 h 6858000"/>
              <a:gd name="connsiteX14" fmla="*/ 5354674 w 6097588"/>
              <a:gd name="connsiteY14" fmla="*/ 693485 h 6858000"/>
              <a:gd name="connsiteX15" fmla="*/ 5334967 w 6097588"/>
              <a:gd name="connsiteY15" fmla="*/ 710377 h 6858000"/>
              <a:gd name="connsiteX16" fmla="*/ 5318075 w 6097588"/>
              <a:gd name="connsiteY16" fmla="*/ 714599 h 6858000"/>
              <a:gd name="connsiteX17" fmla="*/ 5303999 w 6097588"/>
              <a:gd name="connsiteY17" fmla="*/ 711785 h 6858000"/>
              <a:gd name="connsiteX18" fmla="*/ 5320891 w 6097588"/>
              <a:gd name="connsiteY18" fmla="*/ 697709 h 6858000"/>
              <a:gd name="connsiteX19" fmla="*/ 5339366 w 6097588"/>
              <a:gd name="connsiteY19" fmla="*/ 690142 h 6858000"/>
              <a:gd name="connsiteX20" fmla="*/ 4590333 w 6097588"/>
              <a:gd name="connsiteY20" fmla="*/ 686446 h 6858000"/>
              <a:gd name="connsiteX21" fmla="*/ 4590333 w 6097588"/>
              <a:gd name="connsiteY21" fmla="*/ 913075 h 6858000"/>
              <a:gd name="connsiteX22" fmla="*/ 4629745 w 6097588"/>
              <a:gd name="connsiteY22" fmla="*/ 913075 h 6858000"/>
              <a:gd name="connsiteX23" fmla="*/ 4629745 w 6097588"/>
              <a:gd name="connsiteY23" fmla="*/ 686446 h 6858000"/>
              <a:gd name="connsiteX24" fmla="*/ 3840067 w 6097588"/>
              <a:gd name="connsiteY24" fmla="*/ 686446 h 6858000"/>
              <a:gd name="connsiteX25" fmla="*/ 3923115 w 6097588"/>
              <a:gd name="connsiteY25" fmla="*/ 913075 h 6858000"/>
              <a:gd name="connsiteX26" fmla="*/ 3921708 w 6097588"/>
              <a:gd name="connsiteY26" fmla="*/ 920112 h 6858000"/>
              <a:gd name="connsiteX27" fmla="*/ 3878072 w 6097588"/>
              <a:gd name="connsiteY27" fmla="*/ 959526 h 6858000"/>
              <a:gd name="connsiteX28" fmla="*/ 3852735 w 6097588"/>
              <a:gd name="connsiteY28" fmla="*/ 956711 h 6858000"/>
              <a:gd name="connsiteX29" fmla="*/ 3852735 w 6097588"/>
              <a:gd name="connsiteY29" fmla="*/ 987679 h 6858000"/>
              <a:gd name="connsiteX30" fmla="*/ 3880888 w 6097588"/>
              <a:gd name="connsiteY30" fmla="*/ 991901 h 6858000"/>
              <a:gd name="connsiteX31" fmla="*/ 3958307 w 6097588"/>
              <a:gd name="connsiteY31" fmla="*/ 931373 h 6858000"/>
              <a:gd name="connsiteX32" fmla="*/ 4041358 w 6097588"/>
              <a:gd name="connsiteY32" fmla="*/ 686446 h 6858000"/>
              <a:gd name="connsiteX33" fmla="*/ 4000535 w 6097588"/>
              <a:gd name="connsiteY33" fmla="*/ 686446 h 6858000"/>
              <a:gd name="connsiteX34" fmla="*/ 3945638 w 6097588"/>
              <a:gd name="connsiteY34" fmla="*/ 862399 h 6858000"/>
              <a:gd name="connsiteX35" fmla="*/ 3944231 w 6097588"/>
              <a:gd name="connsiteY35" fmla="*/ 862399 h 6858000"/>
              <a:gd name="connsiteX36" fmla="*/ 3882294 w 6097588"/>
              <a:gd name="connsiteY36" fmla="*/ 686446 h 6858000"/>
              <a:gd name="connsiteX37" fmla="*/ 4763471 w 6097588"/>
              <a:gd name="connsiteY37" fmla="*/ 683631 h 6858000"/>
              <a:gd name="connsiteX38" fmla="*/ 4684643 w 6097588"/>
              <a:gd name="connsiteY38" fmla="*/ 746974 h 6858000"/>
              <a:gd name="connsiteX39" fmla="*/ 4745171 w 6097588"/>
              <a:gd name="connsiteY39" fmla="*/ 813133 h 6858000"/>
              <a:gd name="connsiteX40" fmla="*/ 4791622 w 6097588"/>
              <a:gd name="connsiteY40" fmla="*/ 851138 h 6858000"/>
              <a:gd name="connsiteX41" fmla="*/ 4743764 w 6097588"/>
              <a:gd name="connsiteY41" fmla="*/ 884922 h 6858000"/>
              <a:gd name="connsiteX42" fmla="*/ 4681828 w 6097588"/>
              <a:gd name="connsiteY42" fmla="*/ 870845 h 6858000"/>
              <a:gd name="connsiteX43" fmla="*/ 4681828 w 6097588"/>
              <a:gd name="connsiteY43" fmla="*/ 903222 h 6858000"/>
              <a:gd name="connsiteX44" fmla="*/ 4749395 w 6097588"/>
              <a:gd name="connsiteY44" fmla="*/ 915890 h 6858000"/>
              <a:gd name="connsiteX45" fmla="*/ 4829630 w 6097588"/>
              <a:gd name="connsiteY45" fmla="*/ 848323 h 6858000"/>
              <a:gd name="connsiteX46" fmla="*/ 4762063 w 6097588"/>
              <a:gd name="connsiteY46" fmla="*/ 779349 h 6858000"/>
              <a:gd name="connsiteX47" fmla="*/ 4724057 w 6097588"/>
              <a:gd name="connsiteY47" fmla="*/ 744159 h 6858000"/>
              <a:gd name="connsiteX48" fmla="*/ 4764878 w 6097588"/>
              <a:gd name="connsiteY48" fmla="*/ 714599 h 6858000"/>
              <a:gd name="connsiteX49" fmla="*/ 4819775 w 6097588"/>
              <a:gd name="connsiteY49" fmla="*/ 727267 h 6858000"/>
              <a:gd name="connsiteX50" fmla="*/ 4819775 w 6097588"/>
              <a:gd name="connsiteY50" fmla="*/ 693485 h 6858000"/>
              <a:gd name="connsiteX51" fmla="*/ 4763471 w 6097588"/>
              <a:gd name="connsiteY51" fmla="*/ 683631 h 6858000"/>
              <a:gd name="connsiteX52" fmla="*/ 4180712 w 6097588"/>
              <a:gd name="connsiteY52" fmla="*/ 683631 h 6858000"/>
              <a:gd name="connsiteX53" fmla="*/ 4115962 w 6097588"/>
              <a:gd name="connsiteY53" fmla="*/ 704746 h 6858000"/>
              <a:gd name="connsiteX54" fmla="*/ 4115962 w 6097588"/>
              <a:gd name="connsiteY54" fmla="*/ 686446 h 6858000"/>
              <a:gd name="connsiteX55" fmla="*/ 4076548 w 6097588"/>
              <a:gd name="connsiteY55" fmla="*/ 686446 h 6858000"/>
              <a:gd name="connsiteX56" fmla="*/ 4076548 w 6097588"/>
              <a:gd name="connsiteY56" fmla="*/ 913075 h 6858000"/>
              <a:gd name="connsiteX57" fmla="*/ 4115962 w 6097588"/>
              <a:gd name="connsiteY57" fmla="*/ 913075 h 6858000"/>
              <a:gd name="connsiteX58" fmla="*/ 4115962 w 6097588"/>
              <a:gd name="connsiteY58" fmla="*/ 731491 h 6858000"/>
              <a:gd name="connsiteX59" fmla="*/ 4161005 w 6097588"/>
              <a:gd name="connsiteY59" fmla="*/ 714599 h 6858000"/>
              <a:gd name="connsiteX60" fmla="*/ 4204641 w 6097588"/>
              <a:gd name="connsiteY60" fmla="*/ 766681 h 6858000"/>
              <a:gd name="connsiteX61" fmla="*/ 4204641 w 6097588"/>
              <a:gd name="connsiteY61" fmla="*/ 911666 h 6858000"/>
              <a:gd name="connsiteX62" fmla="*/ 4244055 w 6097588"/>
              <a:gd name="connsiteY62" fmla="*/ 911666 h 6858000"/>
              <a:gd name="connsiteX63" fmla="*/ 4244055 w 6097588"/>
              <a:gd name="connsiteY63" fmla="*/ 758235 h 6858000"/>
              <a:gd name="connsiteX64" fmla="*/ 4239833 w 6097588"/>
              <a:gd name="connsiteY64" fmla="*/ 728676 h 6858000"/>
              <a:gd name="connsiteX65" fmla="*/ 4287692 w 6097588"/>
              <a:gd name="connsiteY65" fmla="*/ 714599 h 6858000"/>
              <a:gd name="connsiteX66" fmla="*/ 4334143 w 6097588"/>
              <a:gd name="connsiteY66" fmla="*/ 768090 h 6858000"/>
              <a:gd name="connsiteX67" fmla="*/ 4334143 w 6097588"/>
              <a:gd name="connsiteY67" fmla="*/ 913075 h 6858000"/>
              <a:gd name="connsiteX68" fmla="*/ 4373557 w 6097588"/>
              <a:gd name="connsiteY68" fmla="*/ 913075 h 6858000"/>
              <a:gd name="connsiteX69" fmla="*/ 4373557 w 6097588"/>
              <a:gd name="connsiteY69" fmla="*/ 763866 h 6858000"/>
              <a:gd name="connsiteX70" fmla="*/ 4301768 w 6097588"/>
              <a:gd name="connsiteY70" fmla="*/ 683631 h 6858000"/>
              <a:gd name="connsiteX71" fmla="*/ 4231387 w 6097588"/>
              <a:gd name="connsiteY71" fmla="*/ 707560 h 6858000"/>
              <a:gd name="connsiteX72" fmla="*/ 4180712 w 6097588"/>
              <a:gd name="connsiteY72" fmla="*/ 683631 h 6858000"/>
              <a:gd name="connsiteX73" fmla="*/ 3754201 w 6097588"/>
              <a:gd name="connsiteY73" fmla="*/ 683631 h 6858000"/>
              <a:gd name="connsiteX74" fmla="*/ 3675375 w 6097588"/>
              <a:gd name="connsiteY74" fmla="*/ 746974 h 6858000"/>
              <a:gd name="connsiteX75" fmla="*/ 3737309 w 6097588"/>
              <a:gd name="connsiteY75" fmla="*/ 813133 h 6858000"/>
              <a:gd name="connsiteX76" fmla="*/ 3783761 w 6097588"/>
              <a:gd name="connsiteY76" fmla="*/ 851138 h 6858000"/>
              <a:gd name="connsiteX77" fmla="*/ 3735901 w 6097588"/>
              <a:gd name="connsiteY77" fmla="*/ 884922 h 6858000"/>
              <a:gd name="connsiteX78" fmla="*/ 3673966 w 6097588"/>
              <a:gd name="connsiteY78" fmla="*/ 870845 h 6858000"/>
              <a:gd name="connsiteX79" fmla="*/ 3673966 w 6097588"/>
              <a:gd name="connsiteY79" fmla="*/ 903222 h 6858000"/>
              <a:gd name="connsiteX80" fmla="*/ 3741531 w 6097588"/>
              <a:gd name="connsiteY80" fmla="*/ 915890 h 6858000"/>
              <a:gd name="connsiteX81" fmla="*/ 3821766 w 6097588"/>
              <a:gd name="connsiteY81" fmla="*/ 848323 h 6858000"/>
              <a:gd name="connsiteX82" fmla="*/ 3754201 w 6097588"/>
              <a:gd name="connsiteY82" fmla="*/ 779349 h 6858000"/>
              <a:gd name="connsiteX83" fmla="*/ 3714787 w 6097588"/>
              <a:gd name="connsiteY83" fmla="*/ 744159 h 6858000"/>
              <a:gd name="connsiteX84" fmla="*/ 3755608 w 6097588"/>
              <a:gd name="connsiteY84" fmla="*/ 714599 h 6858000"/>
              <a:gd name="connsiteX85" fmla="*/ 3810505 w 6097588"/>
              <a:gd name="connsiteY85" fmla="*/ 727267 h 6858000"/>
              <a:gd name="connsiteX86" fmla="*/ 3810505 w 6097588"/>
              <a:gd name="connsiteY86" fmla="*/ 693485 h 6858000"/>
              <a:gd name="connsiteX87" fmla="*/ 3754201 w 6097588"/>
              <a:gd name="connsiteY87" fmla="*/ 683631 h 6858000"/>
              <a:gd name="connsiteX88" fmla="*/ 4967577 w 6097588"/>
              <a:gd name="connsiteY88" fmla="*/ 682224 h 6858000"/>
              <a:gd name="connsiteX89" fmla="*/ 4866227 w 6097588"/>
              <a:gd name="connsiteY89" fmla="*/ 799056 h 6858000"/>
              <a:gd name="connsiteX90" fmla="*/ 4976023 w 6097588"/>
              <a:gd name="connsiteY90" fmla="*/ 915890 h 6858000"/>
              <a:gd name="connsiteX91" fmla="*/ 5040773 w 6097588"/>
              <a:gd name="connsiteY91" fmla="*/ 903222 h 6858000"/>
              <a:gd name="connsiteX92" fmla="*/ 5040773 w 6097588"/>
              <a:gd name="connsiteY92" fmla="*/ 870845 h 6858000"/>
              <a:gd name="connsiteX93" fmla="*/ 4977430 w 6097588"/>
              <a:gd name="connsiteY93" fmla="*/ 884922 h 6858000"/>
              <a:gd name="connsiteX94" fmla="*/ 4907049 w 6097588"/>
              <a:gd name="connsiteY94" fmla="*/ 800465 h 6858000"/>
              <a:gd name="connsiteX95" fmla="*/ 5054850 w 6097588"/>
              <a:gd name="connsiteY95" fmla="*/ 800465 h 6858000"/>
              <a:gd name="connsiteX96" fmla="*/ 5054850 w 6097588"/>
              <a:gd name="connsiteY96" fmla="*/ 782166 h 6858000"/>
              <a:gd name="connsiteX97" fmla="*/ 4967577 w 6097588"/>
              <a:gd name="connsiteY97" fmla="*/ 682224 h 6858000"/>
              <a:gd name="connsiteX98" fmla="*/ 4529803 w 6097588"/>
              <a:gd name="connsiteY98" fmla="*/ 682224 h 6858000"/>
              <a:gd name="connsiteX99" fmla="*/ 4473499 w 6097588"/>
              <a:gd name="connsiteY99" fmla="*/ 708968 h 6858000"/>
              <a:gd name="connsiteX100" fmla="*/ 4473499 w 6097588"/>
              <a:gd name="connsiteY100" fmla="*/ 685039 h 6858000"/>
              <a:gd name="connsiteX101" fmla="*/ 4434085 w 6097588"/>
              <a:gd name="connsiteY101" fmla="*/ 685039 h 6858000"/>
              <a:gd name="connsiteX102" fmla="*/ 4434085 w 6097588"/>
              <a:gd name="connsiteY102" fmla="*/ 911666 h 6858000"/>
              <a:gd name="connsiteX103" fmla="*/ 4473499 w 6097588"/>
              <a:gd name="connsiteY103" fmla="*/ 911666 h 6858000"/>
              <a:gd name="connsiteX104" fmla="*/ 4473499 w 6097588"/>
              <a:gd name="connsiteY104" fmla="*/ 738528 h 6858000"/>
              <a:gd name="connsiteX105" fmla="*/ 4525581 w 6097588"/>
              <a:gd name="connsiteY105" fmla="*/ 718823 h 6858000"/>
              <a:gd name="connsiteX106" fmla="*/ 4549510 w 6097588"/>
              <a:gd name="connsiteY106" fmla="*/ 721636 h 6858000"/>
              <a:gd name="connsiteX107" fmla="*/ 4549510 w 6097588"/>
              <a:gd name="connsiteY107" fmla="*/ 685039 h 6858000"/>
              <a:gd name="connsiteX108" fmla="*/ 4529803 w 6097588"/>
              <a:gd name="connsiteY108" fmla="*/ 682224 h 6858000"/>
              <a:gd name="connsiteX109" fmla="*/ 5365934 w 6097588"/>
              <a:gd name="connsiteY109" fmla="*/ 609028 h 6858000"/>
              <a:gd name="connsiteX110" fmla="*/ 5378603 w 6097588"/>
              <a:gd name="connsiteY110" fmla="*/ 618881 h 6858000"/>
              <a:gd name="connsiteX111" fmla="*/ 5365934 w 6097588"/>
              <a:gd name="connsiteY111" fmla="*/ 628735 h 6858000"/>
              <a:gd name="connsiteX112" fmla="*/ 5353266 w 6097588"/>
              <a:gd name="connsiteY112" fmla="*/ 618881 h 6858000"/>
              <a:gd name="connsiteX113" fmla="*/ 5365934 w 6097588"/>
              <a:gd name="connsiteY113" fmla="*/ 609028 h 6858000"/>
              <a:gd name="connsiteX114" fmla="*/ 4610038 w 6097588"/>
              <a:gd name="connsiteY114" fmla="*/ 593543 h 6858000"/>
              <a:gd name="connsiteX115" fmla="*/ 4583294 w 6097588"/>
              <a:gd name="connsiteY115" fmla="*/ 618881 h 6858000"/>
              <a:gd name="connsiteX116" fmla="*/ 4610038 w 6097588"/>
              <a:gd name="connsiteY116" fmla="*/ 644217 h 6858000"/>
              <a:gd name="connsiteX117" fmla="*/ 4636785 w 6097588"/>
              <a:gd name="connsiteY117" fmla="*/ 618881 h 6858000"/>
              <a:gd name="connsiteX118" fmla="*/ 4610038 w 6097588"/>
              <a:gd name="connsiteY118" fmla="*/ 593543 h 6858000"/>
              <a:gd name="connsiteX119" fmla="*/ 5412387 w 6097588"/>
              <a:gd name="connsiteY119" fmla="*/ 530201 h 6858000"/>
              <a:gd name="connsiteX120" fmla="*/ 5578486 w 6097588"/>
              <a:gd name="connsiteY120" fmla="*/ 606213 h 6858000"/>
              <a:gd name="connsiteX121" fmla="*/ 5582709 w 6097588"/>
              <a:gd name="connsiteY121" fmla="*/ 679409 h 6858000"/>
              <a:gd name="connsiteX122" fmla="*/ 5529219 w 6097588"/>
              <a:gd name="connsiteY122" fmla="*/ 676593 h 6858000"/>
              <a:gd name="connsiteX123" fmla="*/ 5533443 w 6097588"/>
              <a:gd name="connsiteY123" fmla="*/ 666741 h 6858000"/>
              <a:gd name="connsiteX124" fmla="*/ 5540480 w 6097588"/>
              <a:gd name="connsiteY124" fmla="*/ 665332 h 6858000"/>
              <a:gd name="connsiteX125" fmla="*/ 5541888 w 6097588"/>
              <a:gd name="connsiteY125" fmla="*/ 661110 h 6858000"/>
              <a:gd name="connsiteX126" fmla="*/ 5524997 w 6097588"/>
              <a:gd name="connsiteY126" fmla="*/ 655479 h 6858000"/>
              <a:gd name="connsiteX127" fmla="*/ 5503881 w 6097588"/>
              <a:gd name="connsiteY127" fmla="*/ 656888 h 6858000"/>
              <a:gd name="connsiteX128" fmla="*/ 5495435 w 6097588"/>
              <a:gd name="connsiteY128" fmla="*/ 654071 h 6858000"/>
              <a:gd name="connsiteX129" fmla="*/ 5492620 w 6097588"/>
              <a:gd name="connsiteY129" fmla="*/ 649849 h 6858000"/>
              <a:gd name="connsiteX130" fmla="*/ 5495435 w 6097588"/>
              <a:gd name="connsiteY130" fmla="*/ 641403 h 6858000"/>
              <a:gd name="connsiteX131" fmla="*/ 5503881 w 6097588"/>
              <a:gd name="connsiteY131" fmla="*/ 639996 h 6858000"/>
              <a:gd name="connsiteX132" fmla="*/ 5505290 w 6097588"/>
              <a:gd name="connsiteY132" fmla="*/ 635772 h 6858000"/>
              <a:gd name="connsiteX133" fmla="*/ 5488398 w 6097588"/>
              <a:gd name="connsiteY133" fmla="*/ 630142 h 6858000"/>
              <a:gd name="connsiteX134" fmla="*/ 5467284 w 6097588"/>
              <a:gd name="connsiteY134" fmla="*/ 631550 h 6858000"/>
              <a:gd name="connsiteX135" fmla="*/ 5458838 w 6097588"/>
              <a:gd name="connsiteY135" fmla="*/ 628735 h 6858000"/>
              <a:gd name="connsiteX136" fmla="*/ 5456023 w 6097588"/>
              <a:gd name="connsiteY136" fmla="*/ 624511 h 6858000"/>
              <a:gd name="connsiteX137" fmla="*/ 5458838 w 6097588"/>
              <a:gd name="connsiteY137" fmla="*/ 614659 h 6858000"/>
              <a:gd name="connsiteX138" fmla="*/ 5467284 w 6097588"/>
              <a:gd name="connsiteY138" fmla="*/ 613250 h 6858000"/>
              <a:gd name="connsiteX139" fmla="*/ 5468691 w 6097588"/>
              <a:gd name="connsiteY139" fmla="*/ 609028 h 6858000"/>
              <a:gd name="connsiteX140" fmla="*/ 5451799 w 6097588"/>
              <a:gd name="connsiteY140" fmla="*/ 603397 h 6858000"/>
              <a:gd name="connsiteX141" fmla="*/ 5430685 w 6097588"/>
              <a:gd name="connsiteY141" fmla="*/ 604804 h 6858000"/>
              <a:gd name="connsiteX142" fmla="*/ 5426463 w 6097588"/>
              <a:gd name="connsiteY142" fmla="*/ 603397 h 6858000"/>
              <a:gd name="connsiteX143" fmla="*/ 5425055 w 6097588"/>
              <a:gd name="connsiteY143" fmla="*/ 600582 h 6858000"/>
              <a:gd name="connsiteX144" fmla="*/ 5426463 w 6097588"/>
              <a:gd name="connsiteY144" fmla="*/ 593545 h 6858000"/>
              <a:gd name="connsiteX145" fmla="*/ 5427870 w 6097588"/>
              <a:gd name="connsiteY145" fmla="*/ 573836 h 6858000"/>
              <a:gd name="connsiteX146" fmla="*/ 5415200 w 6097588"/>
              <a:gd name="connsiteY146" fmla="*/ 551315 h 6858000"/>
              <a:gd name="connsiteX147" fmla="*/ 5410978 w 6097588"/>
              <a:gd name="connsiteY147" fmla="*/ 549907 h 6858000"/>
              <a:gd name="connsiteX148" fmla="*/ 5409571 w 6097588"/>
              <a:gd name="connsiteY148" fmla="*/ 555537 h 6858000"/>
              <a:gd name="connsiteX149" fmla="*/ 5384234 w 6097588"/>
              <a:gd name="connsiteY149" fmla="*/ 589321 h 6858000"/>
              <a:gd name="connsiteX150" fmla="*/ 5375788 w 6097588"/>
              <a:gd name="connsiteY150" fmla="*/ 589321 h 6858000"/>
              <a:gd name="connsiteX151" fmla="*/ 5370157 w 6097588"/>
              <a:gd name="connsiteY151" fmla="*/ 589321 h 6858000"/>
              <a:gd name="connsiteX152" fmla="*/ 5367342 w 6097588"/>
              <a:gd name="connsiteY152" fmla="*/ 589321 h 6858000"/>
              <a:gd name="connsiteX153" fmla="*/ 5361711 w 6097588"/>
              <a:gd name="connsiteY153" fmla="*/ 589321 h 6858000"/>
              <a:gd name="connsiteX154" fmla="*/ 5353266 w 6097588"/>
              <a:gd name="connsiteY154" fmla="*/ 590728 h 6858000"/>
              <a:gd name="connsiteX155" fmla="*/ 5333558 w 6097588"/>
              <a:gd name="connsiteY155" fmla="*/ 610435 h 6858000"/>
              <a:gd name="connsiteX156" fmla="*/ 5333558 w 6097588"/>
              <a:gd name="connsiteY156" fmla="*/ 613250 h 6858000"/>
              <a:gd name="connsiteX157" fmla="*/ 5330743 w 6097588"/>
              <a:gd name="connsiteY157" fmla="*/ 617474 h 6858000"/>
              <a:gd name="connsiteX158" fmla="*/ 5319482 w 6097588"/>
              <a:gd name="connsiteY158" fmla="*/ 618881 h 6858000"/>
              <a:gd name="connsiteX159" fmla="*/ 5277254 w 6097588"/>
              <a:gd name="connsiteY159" fmla="*/ 607620 h 6858000"/>
              <a:gd name="connsiteX160" fmla="*/ 5274439 w 6097588"/>
              <a:gd name="connsiteY160" fmla="*/ 606213 h 6858000"/>
              <a:gd name="connsiteX161" fmla="*/ 5273031 w 6097588"/>
              <a:gd name="connsiteY161" fmla="*/ 607620 h 6858000"/>
              <a:gd name="connsiteX162" fmla="*/ 5261769 w 6097588"/>
              <a:gd name="connsiteY162" fmla="*/ 637181 h 6858000"/>
              <a:gd name="connsiteX163" fmla="*/ 5281476 w 6097588"/>
              <a:gd name="connsiteY163" fmla="*/ 673778 h 6858000"/>
              <a:gd name="connsiteX164" fmla="*/ 5288514 w 6097588"/>
              <a:gd name="connsiteY164" fmla="*/ 678002 h 6858000"/>
              <a:gd name="connsiteX165" fmla="*/ 5288514 w 6097588"/>
              <a:gd name="connsiteY165" fmla="*/ 675187 h 6858000"/>
              <a:gd name="connsiteX166" fmla="*/ 5291331 w 6097588"/>
              <a:gd name="connsiteY166" fmla="*/ 665332 h 6858000"/>
              <a:gd name="connsiteX167" fmla="*/ 5309629 w 6097588"/>
              <a:gd name="connsiteY167" fmla="*/ 661110 h 6858000"/>
              <a:gd name="connsiteX168" fmla="*/ 5311036 w 6097588"/>
              <a:gd name="connsiteY168" fmla="*/ 662517 h 6858000"/>
              <a:gd name="connsiteX169" fmla="*/ 5323706 w 6097588"/>
              <a:gd name="connsiteY169" fmla="*/ 666741 h 6858000"/>
              <a:gd name="connsiteX170" fmla="*/ 5336374 w 6097588"/>
              <a:gd name="connsiteY170" fmla="*/ 662517 h 6858000"/>
              <a:gd name="connsiteX171" fmla="*/ 5354674 w 6097588"/>
              <a:gd name="connsiteY171" fmla="*/ 662517 h 6858000"/>
              <a:gd name="connsiteX172" fmla="*/ 5357489 w 6097588"/>
              <a:gd name="connsiteY172" fmla="*/ 678002 h 6858000"/>
              <a:gd name="connsiteX173" fmla="*/ 5357489 w 6097588"/>
              <a:gd name="connsiteY173" fmla="*/ 679409 h 6858000"/>
              <a:gd name="connsiteX174" fmla="*/ 5356081 w 6097588"/>
              <a:gd name="connsiteY174" fmla="*/ 679409 h 6858000"/>
              <a:gd name="connsiteX175" fmla="*/ 5322297 w 6097588"/>
              <a:gd name="connsiteY175" fmla="*/ 676593 h 6858000"/>
              <a:gd name="connsiteX176" fmla="*/ 5302590 w 6097588"/>
              <a:gd name="connsiteY176" fmla="*/ 685039 h 6858000"/>
              <a:gd name="connsiteX177" fmla="*/ 5268808 w 6097588"/>
              <a:gd name="connsiteY177" fmla="*/ 692078 h 6858000"/>
              <a:gd name="connsiteX178" fmla="*/ 5247693 w 6097588"/>
              <a:gd name="connsiteY178" fmla="*/ 672371 h 6858000"/>
              <a:gd name="connsiteX179" fmla="*/ 5246286 w 6097588"/>
              <a:gd name="connsiteY179" fmla="*/ 669556 h 6858000"/>
              <a:gd name="connsiteX180" fmla="*/ 5244878 w 6097588"/>
              <a:gd name="connsiteY180" fmla="*/ 673778 h 6858000"/>
              <a:gd name="connsiteX181" fmla="*/ 5253323 w 6097588"/>
              <a:gd name="connsiteY181" fmla="*/ 707561 h 6858000"/>
              <a:gd name="connsiteX182" fmla="*/ 5294146 w 6097588"/>
              <a:gd name="connsiteY182" fmla="*/ 713192 h 6858000"/>
              <a:gd name="connsiteX183" fmla="*/ 5295553 w 6097588"/>
              <a:gd name="connsiteY183" fmla="*/ 711785 h 6858000"/>
              <a:gd name="connsiteX184" fmla="*/ 5295553 w 6097588"/>
              <a:gd name="connsiteY184" fmla="*/ 713192 h 6858000"/>
              <a:gd name="connsiteX185" fmla="*/ 5299775 w 6097588"/>
              <a:gd name="connsiteY185" fmla="*/ 727269 h 6858000"/>
              <a:gd name="connsiteX186" fmla="*/ 5318075 w 6097588"/>
              <a:gd name="connsiteY186" fmla="*/ 739937 h 6858000"/>
              <a:gd name="connsiteX187" fmla="*/ 5340598 w 6097588"/>
              <a:gd name="connsiteY187" fmla="*/ 730084 h 6858000"/>
              <a:gd name="connsiteX188" fmla="*/ 5388456 w 6097588"/>
              <a:gd name="connsiteY188" fmla="*/ 713192 h 6858000"/>
              <a:gd name="connsiteX189" fmla="*/ 5456023 w 6097588"/>
              <a:gd name="connsiteY189" fmla="*/ 786388 h 6858000"/>
              <a:gd name="connsiteX190" fmla="*/ 5461654 w 6097588"/>
              <a:gd name="connsiteY190" fmla="*/ 796242 h 6858000"/>
              <a:gd name="connsiteX191" fmla="*/ 5461654 w 6097588"/>
              <a:gd name="connsiteY191" fmla="*/ 797649 h 6858000"/>
              <a:gd name="connsiteX192" fmla="*/ 5467284 w 6097588"/>
              <a:gd name="connsiteY192" fmla="*/ 801873 h 6858000"/>
              <a:gd name="connsiteX193" fmla="*/ 5470099 w 6097588"/>
              <a:gd name="connsiteY193" fmla="*/ 797649 h 6858000"/>
              <a:gd name="connsiteX194" fmla="*/ 5499659 w 6097588"/>
              <a:gd name="connsiteY194" fmla="*/ 758237 h 6858000"/>
              <a:gd name="connsiteX195" fmla="*/ 5526404 w 6097588"/>
              <a:gd name="connsiteY195" fmla="*/ 754013 h 6858000"/>
              <a:gd name="connsiteX196" fmla="*/ 5529219 w 6097588"/>
              <a:gd name="connsiteY196" fmla="*/ 754013 h 6858000"/>
              <a:gd name="connsiteX197" fmla="*/ 5554556 w 6097588"/>
              <a:gd name="connsiteY197" fmla="*/ 744160 h 6858000"/>
              <a:gd name="connsiteX198" fmla="*/ 5622122 w 6097588"/>
              <a:gd name="connsiteY198" fmla="*/ 718823 h 6858000"/>
              <a:gd name="connsiteX199" fmla="*/ 5631976 w 6097588"/>
              <a:gd name="connsiteY199" fmla="*/ 721638 h 6858000"/>
              <a:gd name="connsiteX200" fmla="*/ 5629161 w 6097588"/>
              <a:gd name="connsiteY200" fmla="*/ 728675 h 6858000"/>
              <a:gd name="connsiteX201" fmla="*/ 5624939 w 6097588"/>
              <a:gd name="connsiteY201" fmla="*/ 730084 h 6858000"/>
              <a:gd name="connsiteX202" fmla="*/ 5543295 w 6097588"/>
              <a:gd name="connsiteY202" fmla="*/ 789205 h 6858000"/>
              <a:gd name="connsiteX203" fmla="*/ 5540480 w 6097588"/>
              <a:gd name="connsiteY203" fmla="*/ 810319 h 6858000"/>
              <a:gd name="connsiteX204" fmla="*/ 5540480 w 6097588"/>
              <a:gd name="connsiteY204" fmla="*/ 820172 h 6858000"/>
              <a:gd name="connsiteX205" fmla="*/ 5513736 w 6097588"/>
              <a:gd name="connsiteY205" fmla="*/ 886330 h 6858000"/>
              <a:gd name="connsiteX206" fmla="*/ 5486989 w 6097588"/>
              <a:gd name="connsiteY206" fmla="*/ 908852 h 6858000"/>
              <a:gd name="connsiteX207" fmla="*/ 5481361 w 6097588"/>
              <a:gd name="connsiteY207" fmla="*/ 914483 h 6858000"/>
              <a:gd name="connsiteX208" fmla="*/ 5475730 w 6097588"/>
              <a:gd name="connsiteY208" fmla="*/ 921520 h 6858000"/>
              <a:gd name="connsiteX209" fmla="*/ 5448984 w 6097588"/>
              <a:gd name="connsiteY209" fmla="*/ 951082 h 6858000"/>
              <a:gd name="connsiteX210" fmla="*/ 5422239 w 6097588"/>
              <a:gd name="connsiteY210" fmla="*/ 969380 h 6858000"/>
              <a:gd name="connsiteX211" fmla="*/ 5420833 w 6097588"/>
              <a:gd name="connsiteY211" fmla="*/ 969380 h 6858000"/>
              <a:gd name="connsiteX212" fmla="*/ 5419424 w 6097588"/>
              <a:gd name="connsiteY212" fmla="*/ 967974 h 6858000"/>
              <a:gd name="connsiteX213" fmla="*/ 5433501 w 6097588"/>
              <a:gd name="connsiteY213" fmla="*/ 946858 h 6858000"/>
              <a:gd name="connsiteX214" fmla="*/ 5447577 w 6097588"/>
              <a:gd name="connsiteY214" fmla="*/ 927151 h 6858000"/>
              <a:gd name="connsiteX215" fmla="*/ 5433501 w 6097588"/>
              <a:gd name="connsiteY215" fmla="*/ 932782 h 6858000"/>
              <a:gd name="connsiteX216" fmla="*/ 5419424 w 6097588"/>
              <a:gd name="connsiteY216" fmla="*/ 939821 h 6858000"/>
              <a:gd name="connsiteX217" fmla="*/ 5351857 w 6097588"/>
              <a:gd name="connsiteY217" fmla="*/ 958119 h 6858000"/>
              <a:gd name="connsiteX218" fmla="*/ 5351857 w 6097588"/>
              <a:gd name="connsiteY218" fmla="*/ 955304 h 6858000"/>
              <a:gd name="connsiteX219" fmla="*/ 5371564 w 6097588"/>
              <a:gd name="connsiteY219" fmla="*/ 942636 h 6858000"/>
              <a:gd name="connsiteX220" fmla="*/ 5432092 w 6097588"/>
              <a:gd name="connsiteY220" fmla="*/ 893369 h 6858000"/>
              <a:gd name="connsiteX221" fmla="*/ 5395495 w 6097588"/>
              <a:gd name="connsiteY221" fmla="*/ 866623 h 6858000"/>
              <a:gd name="connsiteX222" fmla="*/ 5334967 w 6097588"/>
              <a:gd name="connsiteY222" fmla="*/ 801873 h 6858000"/>
              <a:gd name="connsiteX223" fmla="*/ 5220948 w 6097588"/>
              <a:gd name="connsiteY223" fmla="*/ 856770 h 6858000"/>
              <a:gd name="connsiteX224" fmla="*/ 5192796 w 6097588"/>
              <a:gd name="connsiteY224" fmla="*/ 749791 h 6858000"/>
              <a:gd name="connsiteX225" fmla="*/ 5412387 w 6097588"/>
              <a:gd name="connsiteY225" fmla="*/ 530201 h 6858000"/>
              <a:gd name="connsiteX226" fmla="*/ 5413794 w 6097588"/>
              <a:gd name="connsiteY226" fmla="*/ 511901 h 6858000"/>
              <a:gd name="connsiteX227" fmla="*/ 5174497 w 6097588"/>
              <a:gd name="connsiteY227" fmla="*/ 751198 h 6858000"/>
              <a:gd name="connsiteX228" fmla="*/ 5413794 w 6097588"/>
              <a:gd name="connsiteY228" fmla="*/ 990494 h 6858000"/>
              <a:gd name="connsiteX229" fmla="*/ 5653090 w 6097588"/>
              <a:gd name="connsiteY229" fmla="*/ 751198 h 6858000"/>
              <a:gd name="connsiteX230" fmla="*/ 5413794 w 6097588"/>
              <a:gd name="connsiteY230" fmla="*/ 511901 h 6858000"/>
              <a:gd name="connsiteX231" fmla="*/ 0 w 6097588"/>
              <a:gd name="connsiteY231" fmla="*/ 0 h 6858000"/>
              <a:gd name="connsiteX232" fmla="*/ 6097588 w 6097588"/>
              <a:gd name="connsiteY232" fmla="*/ 0 h 6858000"/>
              <a:gd name="connsiteX233" fmla="*/ 6097588 w 6097588"/>
              <a:gd name="connsiteY233" fmla="*/ 6858000 h 6858000"/>
              <a:gd name="connsiteX234" fmla="*/ 0 w 6097588"/>
              <a:gd name="connsiteY23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</a:cxnLst>
            <a:rect l="l" t="t" r="r" b="b"/>
            <a:pathLst>
              <a:path w="6097588" h="6858000">
                <a:moveTo>
                  <a:pt x="5520773" y="766683"/>
                </a:moveTo>
                <a:cubicBezTo>
                  <a:pt x="5515142" y="766683"/>
                  <a:pt x="5510920" y="770905"/>
                  <a:pt x="5510920" y="776535"/>
                </a:cubicBezTo>
                <a:cubicBezTo>
                  <a:pt x="5510920" y="782166"/>
                  <a:pt x="5515142" y="786388"/>
                  <a:pt x="5520773" y="786388"/>
                </a:cubicBezTo>
                <a:cubicBezTo>
                  <a:pt x="5526404" y="784981"/>
                  <a:pt x="5530627" y="780759"/>
                  <a:pt x="5530627" y="776535"/>
                </a:cubicBezTo>
                <a:cubicBezTo>
                  <a:pt x="5530627" y="770905"/>
                  <a:pt x="5526404" y="766683"/>
                  <a:pt x="5520773" y="766683"/>
                </a:cubicBezTo>
                <a:close/>
                <a:moveTo>
                  <a:pt x="4967577" y="714599"/>
                </a:moveTo>
                <a:cubicBezTo>
                  <a:pt x="4998544" y="714599"/>
                  <a:pt x="5015436" y="741343"/>
                  <a:pt x="5015436" y="770903"/>
                </a:cubicBezTo>
                <a:lnTo>
                  <a:pt x="5015436" y="773720"/>
                </a:lnTo>
                <a:lnTo>
                  <a:pt x="5014029" y="773720"/>
                </a:lnTo>
                <a:lnTo>
                  <a:pt x="4908456" y="773720"/>
                </a:lnTo>
                <a:cubicBezTo>
                  <a:pt x="4914087" y="731491"/>
                  <a:pt x="4938016" y="714599"/>
                  <a:pt x="4967577" y="714599"/>
                </a:cubicBezTo>
                <a:close/>
                <a:moveTo>
                  <a:pt x="5339366" y="690142"/>
                </a:moveTo>
                <a:cubicBezTo>
                  <a:pt x="5344820" y="689263"/>
                  <a:pt x="5349747" y="689966"/>
                  <a:pt x="5354674" y="692078"/>
                </a:cubicBezTo>
                <a:lnTo>
                  <a:pt x="5356081" y="692078"/>
                </a:lnTo>
                <a:cubicBezTo>
                  <a:pt x="5356081" y="692078"/>
                  <a:pt x="5356081" y="693485"/>
                  <a:pt x="5354674" y="693485"/>
                </a:cubicBezTo>
                <a:cubicBezTo>
                  <a:pt x="5351857" y="699116"/>
                  <a:pt x="5346228" y="706155"/>
                  <a:pt x="5334967" y="710377"/>
                </a:cubicBezTo>
                <a:cubicBezTo>
                  <a:pt x="5327928" y="713192"/>
                  <a:pt x="5323706" y="714599"/>
                  <a:pt x="5318075" y="714599"/>
                </a:cubicBezTo>
                <a:cubicBezTo>
                  <a:pt x="5311036" y="714599"/>
                  <a:pt x="5305406" y="713192"/>
                  <a:pt x="5303999" y="711785"/>
                </a:cubicBezTo>
                <a:cubicBezTo>
                  <a:pt x="5303999" y="711785"/>
                  <a:pt x="5311036" y="704746"/>
                  <a:pt x="5320891" y="697709"/>
                </a:cubicBezTo>
                <a:cubicBezTo>
                  <a:pt x="5327929" y="693486"/>
                  <a:pt x="5333911" y="691022"/>
                  <a:pt x="5339366" y="690142"/>
                </a:cubicBezTo>
                <a:close/>
                <a:moveTo>
                  <a:pt x="4590333" y="686446"/>
                </a:moveTo>
                <a:lnTo>
                  <a:pt x="4590333" y="913075"/>
                </a:lnTo>
                <a:lnTo>
                  <a:pt x="4629745" y="913075"/>
                </a:lnTo>
                <a:lnTo>
                  <a:pt x="4629745" y="686446"/>
                </a:lnTo>
                <a:close/>
                <a:moveTo>
                  <a:pt x="3840067" y="686446"/>
                </a:moveTo>
                <a:lnTo>
                  <a:pt x="3923115" y="913075"/>
                </a:lnTo>
                <a:lnTo>
                  <a:pt x="3921708" y="920112"/>
                </a:lnTo>
                <a:cubicBezTo>
                  <a:pt x="3914671" y="941228"/>
                  <a:pt x="3903410" y="959526"/>
                  <a:pt x="3878072" y="959526"/>
                </a:cubicBezTo>
                <a:cubicBezTo>
                  <a:pt x="3869626" y="959526"/>
                  <a:pt x="3859772" y="958119"/>
                  <a:pt x="3852735" y="956711"/>
                </a:cubicBezTo>
                <a:lnTo>
                  <a:pt x="3852735" y="987679"/>
                </a:lnTo>
                <a:cubicBezTo>
                  <a:pt x="3861180" y="990494"/>
                  <a:pt x="3868218" y="991901"/>
                  <a:pt x="3880888" y="991901"/>
                </a:cubicBezTo>
                <a:cubicBezTo>
                  <a:pt x="3924524" y="990494"/>
                  <a:pt x="3944231" y="972196"/>
                  <a:pt x="3958307" y="931373"/>
                </a:cubicBezTo>
                <a:lnTo>
                  <a:pt x="4041358" y="686446"/>
                </a:lnTo>
                <a:lnTo>
                  <a:pt x="4000535" y="686446"/>
                </a:lnTo>
                <a:lnTo>
                  <a:pt x="3945638" y="862399"/>
                </a:lnTo>
                <a:lnTo>
                  <a:pt x="3944231" y="862399"/>
                </a:lnTo>
                <a:lnTo>
                  <a:pt x="3882294" y="686446"/>
                </a:lnTo>
                <a:close/>
                <a:moveTo>
                  <a:pt x="4763471" y="683631"/>
                </a:moveTo>
                <a:cubicBezTo>
                  <a:pt x="4717020" y="683631"/>
                  <a:pt x="4684643" y="703338"/>
                  <a:pt x="4684643" y="746974"/>
                </a:cubicBezTo>
                <a:cubicBezTo>
                  <a:pt x="4684643" y="782166"/>
                  <a:pt x="4708574" y="800465"/>
                  <a:pt x="4745171" y="813133"/>
                </a:cubicBezTo>
                <a:cubicBezTo>
                  <a:pt x="4776139" y="824394"/>
                  <a:pt x="4791622" y="830024"/>
                  <a:pt x="4791622" y="851138"/>
                </a:cubicBezTo>
                <a:cubicBezTo>
                  <a:pt x="4791622" y="875069"/>
                  <a:pt x="4774730" y="884922"/>
                  <a:pt x="4743764" y="884922"/>
                </a:cubicBezTo>
                <a:cubicBezTo>
                  <a:pt x="4722650" y="884922"/>
                  <a:pt x="4695904" y="877884"/>
                  <a:pt x="4681828" y="870845"/>
                </a:cubicBezTo>
                <a:lnTo>
                  <a:pt x="4681828" y="903222"/>
                </a:lnTo>
                <a:cubicBezTo>
                  <a:pt x="4698719" y="911666"/>
                  <a:pt x="4725464" y="915890"/>
                  <a:pt x="4749395" y="915890"/>
                </a:cubicBezTo>
                <a:cubicBezTo>
                  <a:pt x="4797253" y="915890"/>
                  <a:pt x="4829630" y="890552"/>
                  <a:pt x="4829630" y="848323"/>
                </a:cubicBezTo>
                <a:cubicBezTo>
                  <a:pt x="4829630" y="803280"/>
                  <a:pt x="4793031" y="789203"/>
                  <a:pt x="4762063" y="779349"/>
                </a:cubicBezTo>
                <a:cubicBezTo>
                  <a:pt x="4736725" y="769496"/>
                  <a:pt x="4724057" y="762459"/>
                  <a:pt x="4724057" y="744159"/>
                </a:cubicBezTo>
                <a:cubicBezTo>
                  <a:pt x="4724057" y="725860"/>
                  <a:pt x="4738133" y="714599"/>
                  <a:pt x="4764878" y="714599"/>
                </a:cubicBezTo>
                <a:cubicBezTo>
                  <a:pt x="4785994" y="714599"/>
                  <a:pt x="4808514" y="721636"/>
                  <a:pt x="4819775" y="727267"/>
                </a:cubicBezTo>
                <a:lnTo>
                  <a:pt x="4819775" y="693485"/>
                </a:lnTo>
                <a:cubicBezTo>
                  <a:pt x="4808514" y="689261"/>
                  <a:pt x="4787400" y="683631"/>
                  <a:pt x="4763471" y="683631"/>
                </a:cubicBezTo>
                <a:close/>
                <a:moveTo>
                  <a:pt x="4180712" y="683631"/>
                </a:moveTo>
                <a:cubicBezTo>
                  <a:pt x="4151152" y="683631"/>
                  <a:pt x="4128630" y="696301"/>
                  <a:pt x="4115962" y="704746"/>
                </a:cubicBezTo>
                <a:lnTo>
                  <a:pt x="4115962" y="686446"/>
                </a:lnTo>
                <a:lnTo>
                  <a:pt x="4076548" y="686446"/>
                </a:lnTo>
                <a:lnTo>
                  <a:pt x="4076548" y="913075"/>
                </a:lnTo>
                <a:lnTo>
                  <a:pt x="4115962" y="913075"/>
                </a:lnTo>
                <a:lnTo>
                  <a:pt x="4115962" y="731491"/>
                </a:lnTo>
                <a:cubicBezTo>
                  <a:pt x="4127221" y="723045"/>
                  <a:pt x="4144113" y="714599"/>
                  <a:pt x="4161005" y="714599"/>
                </a:cubicBezTo>
                <a:cubicBezTo>
                  <a:pt x="4189158" y="714599"/>
                  <a:pt x="4204641" y="730082"/>
                  <a:pt x="4204641" y="766681"/>
                </a:cubicBezTo>
                <a:lnTo>
                  <a:pt x="4204641" y="911666"/>
                </a:lnTo>
                <a:lnTo>
                  <a:pt x="4244055" y="911666"/>
                </a:lnTo>
                <a:lnTo>
                  <a:pt x="4244055" y="758235"/>
                </a:lnTo>
                <a:cubicBezTo>
                  <a:pt x="4244055" y="745567"/>
                  <a:pt x="4241240" y="734306"/>
                  <a:pt x="4239833" y="728676"/>
                </a:cubicBezTo>
                <a:cubicBezTo>
                  <a:pt x="4251094" y="723045"/>
                  <a:pt x="4269393" y="714599"/>
                  <a:pt x="4287692" y="714599"/>
                </a:cubicBezTo>
                <a:cubicBezTo>
                  <a:pt x="4325697" y="714599"/>
                  <a:pt x="4334143" y="735713"/>
                  <a:pt x="4334143" y="768090"/>
                </a:cubicBezTo>
                <a:lnTo>
                  <a:pt x="4334143" y="913075"/>
                </a:lnTo>
                <a:lnTo>
                  <a:pt x="4373557" y="913075"/>
                </a:lnTo>
                <a:lnTo>
                  <a:pt x="4373557" y="763866"/>
                </a:lnTo>
                <a:cubicBezTo>
                  <a:pt x="4373557" y="717414"/>
                  <a:pt x="4353850" y="683631"/>
                  <a:pt x="4301768" y="683631"/>
                </a:cubicBezTo>
                <a:cubicBezTo>
                  <a:pt x="4273615" y="683631"/>
                  <a:pt x="4249686" y="693485"/>
                  <a:pt x="4231387" y="707560"/>
                </a:cubicBezTo>
                <a:cubicBezTo>
                  <a:pt x="4220126" y="693485"/>
                  <a:pt x="4201826" y="683631"/>
                  <a:pt x="4180712" y="683631"/>
                </a:cubicBezTo>
                <a:close/>
                <a:moveTo>
                  <a:pt x="3754201" y="683631"/>
                </a:moveTo>
                <a:cubicBezTo>
                  <a:pt x="3707750" y="683631"/>
                  <a:pt x="3675375" y="703338"/>
                  <a:pt x="3675375" y="746974"/>
                </a:cubicBezTo>
                <a:cubicBezTo>
                  <a:pt x="3675375" y="782166"/>
                  <a:pt x="3699304" y="800465"/>
                  <a:pt x="3737309" y="813133"/>
                </a:cubicBezTo>
                <a:cubicBezTo>
                  <a:pt x="3768278" y="824394"/>
                  <a:pt x="3783761" y="830024"/>
                  <a:pt x="3783761" y="851138"/>
                </a:cubicBezTo>
                <a:cubicBezTo>
                  <a:pt x="3783761" y="875069"/>
                  <a:pt x="3766869" y="884922"/>
                  <a:pt x="3735901" y="884922"/>
                </a:cubicBezTo>
                <a:cubicBezTo>
                  <a:pt x="3714787" y="884922"/>
                  <a:pt x="3688042" y="877884"/>
                  <a:pt x="3673966" y="870845"/>
                </a:cubicBezTo>
                <a:lnTo>
                  <a:pt x="3673966" y="903222"/>
                </a:lnTo>
                <a:cubicBezTo>
                  <a:pt x="3690858" y="911666"/>
                  <a:pt x="3717602" y="915890"/>
                  <a:pt x="3741531" y="915890"/>
                </a:cubicBezTo>
                <a:cubicBezTo>
                  <a:pt x="3789391" y="915890"/>
                  <a:pt x="3821766" y="890552"/>
                  <a:pt x="3821766" y="848323"/>
                </a:cubicBezTo>
                <a:cubicBezTo>
                  <a:pt x="3821766" y="803280"/>
                  <a:pt x="3785169" y="789203"/>
                  <a:pt x="3754201" y="779349"/>
                </a:cubicBezTo>
                <a:cubicBezTo>
                  <a:pt x="3727455" y="769496"/>
                  <a:pt x="3714787" y="762459"/>
                  <a:pt x="3714787" y="744159"/>
                </a:cubicBezTo>
                <a:cubicBezTo>
                  <a:pt x="3714787" y="725860"/>
                  <a:pt x="3728863" y="714599"/>
                  <a:pt x="3755608" y="714599"/>
                </a:cubicBezTo>
                <a:cubicBezTo>
                  <a:pt x="3776723" y="714599"/>
                  <a:pt x="3799244" y="721636"/>
                  <a:pt x="3810505" y="727267"/>
                </a:cubicBezTo>
                <a:lnTo>
                  <a:pt x="3810505" y="693485"/>
                </a:lnTo>
                <a:cubicBezTo>
                  <a:pt x="3799244" y="689261"/>
                  <a:pt x="3778130" y="683631"/>
                  <a:pt x="3754201" y="683631"/>
                </a:cubicBezTo>
                <a:close/>
                <a:moveTo>
                  <a:pt x="4967577" y="682224"/>
                </a:moveTo>
                <a:cubicBezTo>
                  <a:pt x="4902826" y="682224"/>
                  <a:pt x="4866227" y="731491"/>
                  <a:pt x="4866227" y="799056"/>
                </a:cubicBezTo>
                <a:cubicBezTo>
                  <a:pt x="4866227" y="868030"/>
                  <a:pt x="4901419" y="915890"/>
                  <a:pt x="4976023" y="915890"/>
                </a:cubicBezTo>
                <a:cubicBezTo>
                  <a:pt x="5001359" y="915890"/>
                  <a:pt x="5028105" y="908853"/>
                  <a:pt x="5040773" y="903222"/>
                </a:cubicBezTo>
                <a:lnTo>
                  <a:pt x="5040773" y="870845"/>
                </a:lnTo>
                <a:cubicBezTo>
                  <a:pt x="5025290" y="879291"/>
                  <a:pt x="5004174" y="884922"/>
                  <a:pt x="4977430" y="884922"/>
                </a:cubicBezTo>
                <a:cubicBezTo>
                  <a:pt x="4926755" y="884922"/>
                  <a:pt x="4907049" y="851138"/>
                  <a:pt x="4907049" y="800465"/>
                </a:cubicBezTo>
                <a:lnTo>
                  <a:pt x="5054850" y="800465"/>
                </a:lnTo>
                <a:cubicBezTo>
                  <a:pt x="5054850" y="794834"/>
                  <a:pt x="5054850" y="789203"/>
                  <a:pt x="5054850" y="782166"/>
                </a:cubicBezTo>
                <a:cubicBezTo>
                  <a:pt x="5054850" y="732898"/>
                  <a:pt x="5032327" y="682224"/>
                  <a:pt x="4967577" y="682224"/>
                </a:cubicBezTo>
                <a:close/>
                <a:moveTo>
                  <a:pt x="4529803" y="682224"/>
                </a:moveTo>
                <a:cubicBezTo>
                  <a:pt x="4504467" y="682224"/>
                  <a:pt x="4486167" y="693485"/>
                  <a:pt x="4473499" y="708968"/>
                </a:cubicBezTo>
                <a:lnTo>
                  <a:pt x="4473499" y="685039"/>
                </a:lnTo>
                <a:lnTo>
                  <a:pt x="4434085" y="685039"/>
                </a:lnTo>
                <a:lnTo>
                  <a:pt x="4434085" y="911666"/>
                </a:lnTo>
                <a:lnTo>
                  <a:pt x="4473499" y="911666"/>
                </a:lnTo>
                <a:lnTo>
                  <a:pt x="4473499" y="738528"/>
                </a:lnTo>
                <a:cubicBezTo>
                  <a:pt x="4486167" y="728676"/>
                  <a:pt x="4500244" y="718823"/>
                  <a:pt x="4525581" y="718823"/>
                </a:cubicBezTo>
                <a:cubicBezTo>
                  <a:pt x="4535434" y="718823"/>
                  <a:pt x="4543880" y="720230"/>
                  <a:pt x="4549510" y="721636"/>
                </a:cubicBezTo>
                <a:lnTo>
                  <a:pt x="4549510" y="685039"/>
                </a:lnTo>
                <a:cubicBezTo>
                  <a:pt x="4543880" y="683631"/>
                  <a:pt x="4535434" y="682224"/>
                  <a:pt x="4529803" y="682224"/>
                </a:cubicBezTo>
                <a:close/>
                <a:moveTo>
                  <a:pt x="5365934" y="609028"/>
                </a:moveTo>
                <a:cubicBezTo>
                  <a:pt x="5372973" y="609028"/>
                  <a:pt x="5378603" y="613250"/>
                  <a:pt x="5378603" y="618881"/>
                </a:cubicBezTo>
                <a:cubicBezTo>
                  <a:pt x="5378603" y="624511"/>
                  <a:pt x="5372973" y="628735"/>
                  <a:pt x="5365934" y="628735"/>
                </a:cubicBezTo>
                <a:cubicBezTo>
                  <a:pt x="5358896" y="628735"/>
                  <a:pt x="5353266" y="624511"/>
                  <a:pt x="5353266" y="618881"/>
                </a:cubicBezTo>
                <a:cubicBezTo>
                  <a:pt x="5353266" y="613250"/>
                  <a:pt x="5358896" y="609028"/>
                  <a:pt x="5365934" y="609028"/>
                </a:cubicBezTo>
                <a:close/>
                <a:moveTo>
                  <a:pt x="4610038" y="593543"/>
                </a:moveTo>
                <a:cubicBezTo>
                  <a:pt x="4594555" y="593543"/>
                  <a:pt x="4583294" y="604804"/>
                  <a:pt x="4583294" y="618881"/>
                </a:cubicBezTo>
                <a:cubicBezTo>
                  <a:pt x="4583294" y="632957"/>
                  <a:pt x="4594555" y="644217"/>
                  <a:pt x="4610038" y="644217"/>
                </a:cubicBezTo>
                <a:cubicBezTo>
                  <a:pt x="4624115" y="644217"/>
                  <a:pt x="4636785" y="632957"/>
                  <a:pt x="4636785" y="618881"/>
                </a:cubicBezTo>
                <a:cubicBezTo>
                  <a:pt x="4636785" y="604804"/>
                  <a:pt x="4624115" y="593543"/>
                  <a:pt x="4610038" y="593543"/>
                </a:cubicBezTo>
                <a:close/>
                <a:moveTo>
                  <a:pt x="5412387" y="530201"/>
                </a:moveTo>
                <a:cubicBezTo>
                  <a:pt x="5478544" y="530201"/>
                  <a:pt x="5537665" y="559761"/>
                  <a:pt x="5578486" y="606213"/>
                </a:cubicBezTo>
                <a:cubicBezTo>
                  <a:pt x="5603823" y="638588"/>
                  <a:pt x="5599601" y="665332"/>
                  <a:pt x="5582709" y="679409"/>
                </a:cubicBezTo>
                <a:cubicBezTo>
                  <a:pt x="5561596" y="694894"/>
                  <a:pt x="5533443" y="689263"/>
                  <a:pt x="5529219" y="676593"/>
                </a:cubicBezTo>
                <a:cubicBezTo>
                  <a:pt x="5527812" y="669556"/>
                  <a:pt x="5533443" y="666741"/>
                  <a:pt x="5533443" y="666741"/>
                </a:cubicBezTo>
                <a:cubicBezTo>
                  <a:pt x="5534849" y="665332"/>
                  <a:pt x="5537665" y="665332"/>
                  <a:pt x="5540480" y="665332"/>
                </a:cubicBezTo>
                <a:cubicBezTo>
                  <a:pt x="5544704" y="665332"/>
                  <a:pt x="5544704" y="662517"/>
                  <a:pt x="5541888" y="661110"/>
                </a:cubicBezTo>
                <a:cubicBezTo>
                  <a:pt x="5537665" y="658295"/>
                  <a:pt x="5530627" y="655479"/>
                  <a:pt x="5524997" y="655479"/>
                </a:cubicBezTo>
                <a:cubicBezTo>
                  <a:pt x="5516551" y="655479"/>
                  <a:pt x="5503881" y="656888"/>
                  <a:pt x="5503881" y="656888"/>
                </a:cubicBezTo>
                <a:cubicBezTo>
                  <a:pt x="5501066" y="656888"/>
                  <a:pt x="5498252" y="655479"/>
                  <a:pt x="5495435" y="654071"/>
                </a:cubicBezTo>
                <a:cubicBezTo>
                  <a:pt x="5494028" y="652664"/>
                  <a:pt x="5492620" y="651256"/>
                  <a:pt x="5492620" y="649849"/>
                </a:cubicBezTo>
                <a:cubicBezTo>
                  <a:pt x="5491213" y="642812"/>
                  <a:pt x="5495435" y="641403"/>
                  <a:pt x="5495435" y="641403"/>
                </a:cubicBezTo>
                <a:cubicBezTo>
                  <a:pt x="5496844" y="639996"/>
                  <a:pt x="5501066" y="638588"/>
                  <a:pt x="5503881" y="639996"/>
                </a:cubicBezTo>
                <a:cubicBezTo>
                  <a:pt x="5508105" y="639996"/>
                  <a:pt x="5508105" y="637181"/>
                  <a:pt x="5505290" y="635772"/>
                </a:cubicBezTo>
                <a:cubicBezTo>
                  <a:pt x="5501066" y="632957"/>
                  <a:pt x="5494028" y="630142"/>
                  <a:pt x="5488398" y="630142"/>
                </a:cubicBezTo>
                <a:cubicBezTo>
                  <a:pt x="5479952" y="630142"/>
                  <a:pt x="5467284" y="631550"/>
                  <a:pt x="5467284" y="631550"/>
                </a:cubicBezTo>
                <a:cubicBezTo>
                  <a:pt x="5464469" y="631550"/>
                  <a:pt x="5461654" y="630142"/>
                  <a:pt x="5458838" y="628735"/>
                </a:cubicBezTo>
                <a:cubicBezTo>
                  <a:pt x="5457430" y="627327"/>
                  <a:pt x="5456023" y="625920"/>
                  <a:pt x="5456023" y="624511"/>
                </a:cubicBezTo>
                <a:cubicBezTo>
                  <a:pt x="5454614" y="617474"/>
                  <a:pt x="5458838" y="614659"/>
                  <a:pt x="5458838" y="614659"/>
                </a:cubicBezTo>
                <a:cubicBezTo>
                  <a:pt x="5460245" y="613250"/>
                  <a:pt x="5463060" y="611843"/>
                  <a:pt x="5467284" y="613250"/>
                </a:cubicBezTo>
                <a:cubicBezTo>
                  <a:pt x="5471506" y="613250"/>
                  <a:pt x="5471506" y="610435"/>
                  <a:pt x="5468691" y="609028"/>
                </a:cubicBezTo>
                <a:cubicBezTo>
                  <a:pt x="5464469" y="606213"/>
                  <a:pt x="5457430" y="603397"/>
                  <a:pt x="5451799" y="603397"/>
                </a:cubicBezTo>
                <a:cubicBezTo>
                  <a:pt x="5443353" y="603397"/>
                  <a:pt x="5430685" y="604804"/>
                  <a:pt x="5430685" y="604804"/>
                </a:cubicBezTo>
                <a:cubicBezTo>
                  <a:pt x="5429277" y="604804"/>
                  <a:pt x="5426463" y="604804"/>
                  <a:pt x="5426463" y="603397"/>
                </a:cubicBezTo>
                <a:cubicBezTo>
                  <a:pt x="5425055" y="601989"/>
                  <a:pt x="5425055" y="601989"/>
                  <a:pt x="5425055" y="600582"/>
                </a:cubicBezTo>
                <a:cubicBezTo>
                  <a:pt x="5425055" y="599174"/>
                  <a:pt x="5425055" y="596358"/>
                  <a:pt x="5426463" y="593545"/>
                </a:cubicBezTo>
                <a:cubicBezTo>
                  <a:pt x="5427870" y="587912"/>
                  <a:pt x="5429277" y="582282"/>
                  <a:pt x="5427870" y="573836"/>
                </a:cubicBezTo>
                <a:cubicBezTo>
                  <a:pt x="5426463" y="558353"/>
                  <a:pt x="5418017" y="552722"/>
                  <a:pt x="5415200" y="551315"/>
                </a:cubicBezTo>
                <a:cubicBezTo>
                  <a:pt x="5412387" y="549907"/>
                  <a:pt x="5410978" y="549907"/>
                  <a:pt x="5410978" y="549907"/>
                </a:cubicBezTo>
                <a:cubicBezTo>
                  <a:pt x="5410978" y="549907"/>
                  <a:pt x="5409571" y="552722"/>
                  <a:pt x="5409571" y="555537"/>
                </a:cubicBezTo>
                <a:cubicBezTo>
                  <a:pt x="5408163" y="566799"/>
                  <a:pt x="5406756" y="589321"/>
                  <a:pt x="5384234" y="589321"/>
                </a:cubicBezTo>
                <a:cubicBezTo>
                  <a:pt x="5381418" y="589321"/>
                  <a:pt x="5378603" y="589321"/>
                  <a:pt x="5375788" y="589321"/>
                </a:cubicBezTo>
                <a:cubicBezTo>
                  <a:pt x="5374379" y="589321"/>
                  <a:pt x="5371564" y="589321"/>
                  <a:pt x="5370157" y="589321"/>
                </a:cubicBezTo>
                <a:cubicBezTo>
                  <a:pt x="5368749" y="589321"/>
                  <a:pt x="5368749" y="589321"/>
                  <a:pt x="5367342" y="589321"/>
                </a:cubicBezTo>
                <a:cubicBezTo>
                  <a:pt x="5365934" y="589321"/>
                  <a:pt x="5363120" y="589321"/>
                  <a:pt x="5361711" y="589321"/>
                </a:cubicBezTo>
                <a:cubicBezTo>
                  <a:pt x="5358896" y="589321"/>
                  <a:pt x="5356081" y="589321"/>
                  <a:pt x="5353266" y="590728"/>
                </a:cubicBezTo>
                <a:cubicBezTo>
                  <a:pt x="5342004" y="593545"/>
                  <a:pt x="5334967" y="600582"/>
                  <a:pt x="5333558" y="610435"/>
                </a:cubicBezTo>
                <a:cubicBezTo>
                  <a:pt x="5333558" y="611843"/>
                  <a:pt x="5333558" y="611843"/>
                  <a:pt x="5333558" y="613250"/>
                </a:cubicBezTo>
                <a:cubicBezTo>
                  <a:pt x="5333558" y="614659"/>
                  <a:pt x="5333558" y="617474"/>
                  <a:pt x="5330743" y="617474"/>
                </a:cubicBezTo>
                <a:cubicBezTo>
                  <a:pt x="5330743" y="617474"/>
                  <a:pt x="5326521" y="618881"/>
                  <a:pt x="5319482" y="618881"/>
                </a:cubicBezTo>
                <a:cubicBezTo>
                  <a:pt x="5294146" y="621696"/>
                  <a:pt x="5284292" y="611843"/>
                  <a:pt x="5277254" y="607620"/>
                </a:cubicBezTo>
                <a:cubicBezTo>
                  <a:pt x="5275846" y="607620"/>
                  <a:pt x="5274439" y="606213"/>
                  <a:pt x="5274439" y="606213"/>
                </a:cubicBezTo>
                <a:cubicBezTo>
                  <a:pt x="5274439" y="606213"/>
                  <a:pt x="5274439" y="606213"/>
                  <a:pt x="5273031" y="607620"/>
                </a:cubicBezTo>
                <a:cubicBezTo>
                  <a:pt x="5268808" y="611843"/>
                  <a:pt x="5261769" y="624511"/>
                  <a:pt x="5261769" y="637181"/>
                </a:cubicBezTo>
                <a:cubicBezTo>
                  <a:pt x="5263178" y="658295"/>
                  <a:pt x="5277254" y="670963"/>
                  <a:pt x="5281476" y="673778"/>
                </a:cubicBezTo>
                <a:cubicBezTo>
                  <a:pt x="5285700" y="676593"/>
                  <a:pt x="5288514" y="678002"/>
                  <a:pt x="5288514" y="678002"/>
                </a:cubicBezTo>
                <a:cubicBezTo>
                  <a:pt x="5288514" y="678002"/>
                  <a:pt x="5288514" y="676593"/>
                  <a:pt x="5288514" y="675187"/>
                </a:cubicBezTo>
                <a:cubicBezTo>
                  <a:pt x="5288514" y="672371"/>
                  <a:pt x="5288514" y="669556"/>
                  <a:pt x="5291331" y="665332"/>
                </a:cubicBezTo>
                <a:cubicBezTo>
                  <a:pt x="5296960" y="655479"/>
                  <a:pt x="5305406" y="659702"/>
                  <a:pt x="5309629" y="661110"/>
                </a:cubicBezTo>
                <a:cubicBezTo>
                  <a:pt x="5311036" y="661110"/>
                  <a:pt x="5311036" y="661110"/>
                  <a:pt x="5311036" y="662517"/>
                </a:cubicBezTo>
                <a:cubicBezTo>
                  <a:pt x="5315260" y="663925"/>
                  <a:pt x="5319482" y="666741"/>
                  <a:pt x="5323706" y="666741"/>
                </a:cubicBezTo>
                <a:cubicBezTo>
                  <a:pt x="5327928" y="666741"/>
                  <a:pt x="5333558" y="663925"/>
                  <a:pt x="5336374" y="662517"/>
                </a:cubicBezTo>
                <a:cubicBezTo>
                  <a:pt x="5343413" y="659702"/>
                  <a:pt x="5350450" y="658295"/>
                  <a:pt x="5354674" y="662517"/>
                </a:cubicBezTo>
                <a:cubicBezTo>
                  <a:pt x="5358896" y="666741"/>
                  <a:pt x="5357489" y="676593"/>
                  <a:pt x="5357489" y="678002"/>
                </a:cubicBezTo>
                <a:lnTo>
                  <a:pt x="5357489" y="679409"/>
                </a:lnTo>
                <a:lnTo>
                  <a:pt x="5356081" y="679409"/>
                </a:lnTo>
                <a:cubicBezTo>
                  <a:pt x="5340598" y="673778"/>
                  <a:pt x="5334967" y="675187"/>
                  <a:pt x="5322297" y="676593"/>
                </a:cubicBezTo>
                <a:cubicBezTo>
                  <a:pt x="5315260" y="678002"/>
                  <a:pt x="5308221" y="682224"/>
                  <a:pt x="5302590" y="685039"/>
                </a:cubicBezTo>
                <a:cubicBezTo>
                  <a:pt x="5289922" y="692078"/>
                  <a:pt x="5284292" y="697709"/>
                  <a:pt x="5268808" y="692078"/>
                </a:cubicBezTo>
                <a:cubicBezTo>
                  <a:pt x="5254732" y="686448"/>
                  <a:pt x="5250508" y="678002"/>
                  <a:pt x="5247693" y="672371"/>
                </a:cubicBezTo>
                <a:cubicBezTo>
                  <a:pt x="5246286" y="670963"/>
                  <a:pt x="5246286" y="669556"/>
                  <a:pt x="5246286" y="669556"/>
                </a:cubicBezTo>
                <a:cubicBezTo>
                  <a:pt x="5246286" y="669556"/>
                  <a:pt x="5244878" y="670963"/>
                  <a:pt x="5244878" y="673778"/>
                </a:cubicBezTo>
                <a:cubicBezTo>
                  <a:pt x="5242062" y="680817"/>
                  <a:pt x="5242062" y="694894"/>
                  <a:pt x="5253323" y="707561"/>
                </a:cubicBezTo>
                <a:cubicBezTo>
                  <a:pt x="5268808" y="725860"/>
                  <a:pt x="5284292" y="718823"/>
                  <a:pt x="5294146" y="713192"/>
                </a:cubicBezTo>
                <a:lnTo>
                  <a:pt x="5295553" y="711785"/>
                </a:lnTo>
                <a:lnTo>
                  <a:pt x="5295553" y="713192"/>
                </a:lnTo>
                <a:cubicBezTo>
                  <a:pt x="5295553" y="716007"/>
                  <a:pt x="5296960" y="721638"/>
                  <a:pt x="5299775" y="727269"/>
                </a:cubicBezTo>
                <a:cubicBezTo>
                  <a:pt x="5302590" y="732899"/>
                  <a:pt x="5309629" y="739937"/>
                  <a:pt x="5318075" y="739937"/>
                </a:cubicBezTo>
                <a:cubicBezTo>
                  <a:pt x="5323706" y="739937"/>
                  <a:pt x="5332152" y="735715"/>
                  <a:pt x="5340598" y="730084"/>
                </a:cubicBezTo>
                <a:cubicBezTo>
                  <a:pt x="5356081" y="721638"/>
                  <a:pt x="5368749" y="710377"/>
                  <a:pt x="5388456" y="713192"/>
                </a:cubicBezTo>
                <a:cubicBezTo>
                  <a:pt x="5419424" y="718823"/>
                  <a:pt x="5444762" y="765274"/>
                  <a:pt x="5456023" y="786388"/>
                </a:cubicBezTo>
                <a:cubicBezTo>
                  <a:pt x="5458838" y="790612"/>
                  <a:pt x="5460245" y="794834"/>
                  <a:pt x="5461654" y="796242"/>
                </a:cubicBezTo>
                <a:cubicBezTo>
                  <a:pt x="5461654" y="796242"/>
                  <a:pt x="5461654" y="796242"/>
                  <a:pt x="5461654" y="797649"/>
                </a:cubicBezTo>
                <a:cubicBezTo>
                  <a:pt x="5463060" y="799058"/>
                  <a:pt x="5465876" y="803280"/>
                  <a:pt x="5467284" y="801873"/>
                </a:cubicBezTo>
                <a:cubicBezTo>
                  <a:pt x="5470099" y="800464"/>
                  <a:pt x="5470099" y="797649"/>
                  <a:pt x="5470099" y="797649"/>
                </a:cubicBezTo>
                <a:cubicBezTo>
                  <a:pt x="5472915" y="772313"/>
                  <a:pt x="5489806" y="762459"/>
                  <a:pt x="5499659" y="758237"/>
                </a:cubicBezTo>
                <a:cubicBezTo>
                  <a:pt x="5509512" y="754013"/>
                  <a:pt x="5519366" y="754013"/>
                  <a:pt x="5526404" y="754013"/>
                </a:cubicBezTo>
                <a:cubicBezTo>
                  <a:pt x="5527812" y="754013"/>
                  <a:pt x="5527812" y="754013"/>
                  <a:pt x="5529219" y="754013"/>
                </a:cubicBezTo>
                <a:cubicBezTo>
                  <a:pt x="5534849" y="754013"/>
                  <a:pt x="5543295" y="749791"/>
                  <a:pt x="5554556" y="744160"/>
                </a:cubicBezTo>
                <a:cubicBezTo>
                  <a:pt x="5571448" y="735715"/>
                  <a:pt x="5593971" y="724453"/>
                  <a:pt x="5622122" y="718823"/>
                </a:cubicBezTo>
                <a:cubicBezTo>
                  <a:pt x="5629161" y="717414"/>
                  <a:pt x="5631976" y="718823"/>
                  <a:pt x="5631976" y="721638"/>
                </a:cubicBezTo>
                <a:cubicBezTo>
                  <a:pt x="5631976" y="723045"/>
                  <a:pt x="5631976" y="727269"/>
                  <a:pt x="5629161" y="728675"/>
                </a:cubicBezTo>
                <a:lnTo>
                  <a:pt x="5624939" y="730084"/>
                </a:lnTo>
                <a:cubicBezTo>
                  <a:pt x="5596786" y="742752"/>
                  <a:pt x="5553150" y="758237"/>
                  <a:pt x="5543295" y="789205"/>
                </a:cubicBezTo>
                <a:cubicBezTo>
                  <a:pt x="5540480" y="794834"/>
                  <a:pt x="5540480" y="801873"/>
                  <a:pt x="5540480" y="810319"/>
                </a:cubicBezTo>
                <a:cubicBezTo>
                  <a:pt x="5540480" y="813134"/>
                  <a:pt x="5540480" y="815949"/>
                  <a:pt x="5540480" y="820172"/>
                </a:cubicBezTo>
                <a:cubicBezTo>
                  <a:pt x="5540480" y="855362"/>
                  <a:pt x="5523588" y="876477"/>
                  <a:pt x="5513736" y="886330"/>
                </a:cubicBezTo>
                <a:cubicBezTo>
                  <a:pt x="5503881" y="896185"/>
                  <a:pt x="5494028" y="904629"/>
                  <a:pt x="5486989" y="908852"/>
                </a:cubicBezTo>
                <a:cubicBezTo>
                  <a:pt x="5484176" y="911668"/>
                  <a:pt x="5481361" y="913074"/>
                  <a:pt x="5481361" y="914483"/>
                </a:cubicBezTo>
                <a:cubicBezTo>
                  <a:pt x="5481361" y="914483"/>
                  <a:pt x="5478544" y="917298"/>
                  <a:pt x="5475730" y="921520"/>
                </a:cubicBezTo>
                <a:cubicBezTo>
                  <a:pt x="5468691" y="929966"/>
                  <a:pt x="5458838" y="942636"/>
                  <a:pt x="5448984" y="951082"/>
                </a:cubicBezTo>
                <a:cubicBezTo>
                  <a:pt x="5439131" y="960934"/>
                  <a:pt x="5426463" y="969380"/>
                  <a:pt x="5422239" y="969380"/>
                </a:cubicBezTo>
                <a:cubicBezTo>
                  <a:pt x="5420833" y="969380"/>
                  <a:pt x="5420833" y="969380"/>
                  <a:pt x="5420833" y="969380"/>
                </a:cubicBezTo>
                <a:cubicBezTo>
                  <a:pt x="5420833" y="969380"/>
                  <a:pt x="5419424" y="967974"/>
                  <a:pt x="5419424" y="967974"/>
                </a:cubicBezTo>
                <a:cubicBezTo>
                  <a:pt x="5419424" y="965158"/>
                  <a:pt x="5425055" y="958119"/>
                  <a:pt x="5433501" y="946858"/>
                </a:cubicBezTo>
                <a:cubicBezTo>
                  <a:pt x="5443353" y="935597"/>
                  <a:pt x="5447577" y="928560"/>
                  <a:pt x="5447577" y="927151"/>
                </a:cubicBezTo>
                <a:cubicBezTo>
                  <a:pt x="5446168" y="927151"/>
                  <a:pt x="5440538" y="929966"/>
                  <a:pt x="5433501" y="932782"/>
                </a:cubicBezTo>
                <a:cubicBezTo>
                  <a:pt x="5429277" y="934190"/>
                  <a:pt x="5425055" y="937005"/>
                  <a:pt x="5419424" y="939821"/>
                </a:cubicBezTo>
                <a:cubicBezTo>
                  <a:pt x="5399717" y="949673"/>
                  <a:pt x="5357489" y="963750"/>
                  <a:pt x="5351857" y="958119"/>
                </a:cubicBezTo>
                <a:cubicBezTo>
                  <a:pt x="5350450" y="956712"/>
                  <a:pt x="5350450" y="956712"/>
                  <a:pt x="5351857" y="955304"/>
                </a:cubicBezTo>
                <a:cubicBezTo>
                  <a:pt x="5351857" y="952489"/>
                  <a:pt x="5358896" y="949673"/>
                  <a:pt x="5371564" y="942636"/>
                </a:cubicBezTo>
                <a:cubicBezTo>
                  <a:pt x="5392680" y="932782"/>
                  <a:pt x="5425055" y="915892"/>
                  <a:pt x="5432092" y="893369"/>
                </a:cubicBezTo>
                <a:cubicBezTo>
                  <a:pt x="5427870" y="893369"/>
                  <a:pt x="5413794" y="893369"/>
                  <a:pt x="5395495" y="866623"/>
                </a:cubicBezTo>
                <a:cubicBezTo>
                  <a:pt x="5372973" y="832841"/>
                  <a:pt x="5360303" y="801873"/>
                  <a:pt x="5334967" y="801873"/>
                </a:cubicBezTo>
                <a:cubicBezTo>
                  <a:pt x="5305406" y="801873"/>
                  <a:pt x="5243471" y="842694"/>
                  <a:pt x="5220948" y="856770"/>
                </a:cubicBezTo>
                <a:cubicBezTo>
                  <a:pt x="5202650" y="824395"/>
                  <a:pt x="5192796" y="789205"/>
                  <a:pt x="5192796" y="749791"/>
                </a:cubicBezTo>
                <a:cubicBezTo>
                  <a:pt x="5192796" y="628735"/>
                  <a:pt x="5291331" y="530201"/>
                  <a:pt x="5412387" y="530201"/>
                </a:cubicBezTo>
                <a:close/>
                <a:moveTo>
                  <a:pt x="5413794" y="511901"/>
                </a:moveTo>
                <a:cubicBezTo>
                  <a:pt x="5281476" y="511901"/>
                  <a:pt x="5174497" y="618881"/>
                  <a:pt x="5174497" y="751198"/>
                </a:cubicBezTo>
                <a:cubicBezTo>
                  <a:pt x="5174497" y="883515"/>
                  <a:pt x="5281476" y="990494"/>
                  <a:pt x="5413794" y="990494"/>
                </a:cubicBezTo>
                <a:cubicBezTo>
                  <a:pt x="5546111" y="990494"/>
                  <a:pt x="5653090" y="883515"/>
                  <a:pt x="5653090" y="751198"/>
                </a:cubicBezTo>
                <a:cubicBezTo>
                  <a:pt x="5653090" y="618881"/>
                  <a:pt x="5546111" y="511901"/>
                  <a:pt x="5413794" y="511901"/>
                </a:cubicBezTo>
                <a:close/>
                <a:moveTo>
                  <a:pt x="0" y="0"/>
                </a:moveTo>
                <a:lnTo>
                  <a:pt x="6097588" y="0"/>
                </a:lnTo>
                <a:lnTo>
                  <a:pt x="609758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87202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840">
          <p15:clr>
            <a:srgbClr val="9FCC3B"/>
          </p15:clr>
        </p15:guide>
        <p15:guide id="2" pos="279">
          <p15:clr>
            <a:srgbClr val="9FCC3B"/>
          </p15:clr>
        </p15:guide>
        <p15:guide id="3" pos="7401">
          <p15:clr>
            <a:srgbClr val="9FCC3B"/>
          </p15:clr>
        </p15:guide>
        <p15:guide id="4" orient="horz" pos="2160">
          <p15:clr>
            <a:srgbClr val="9FCC3B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Divider 1/4 | Colored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40C5777-9516-4898-83B1-2B051F20EB8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981015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4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40C5777-9516-4898-83B1-2B051F20EB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F2F3EDC4-6E41-42B3-870F-9B7EC644BCA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3500"/>
          </a:xfrm>
          <a:custGeom>
            <a:avLst/>
            <a:gdLst>
              <a:gd name="connsiteX0" fmla="*/ 11616773 w 12192000"/>
              <a:gd name="connsiteY0" fmla="*/ 766683 h 6858000"/>
              <a:gd name="connsiteX1" fmla="*/ 11606920 w 12192000"/>
              <a:gd name="connsiteY1" fmla="*/ 776535 h 6858000"/>
              <a:gd name="connsiteX2" fmla="*/ 11616773 w 12192000"/>
              <a:gd name="connsiteY2" fmla="*/ 786388 h 6858000"/>
              <a:gd name="connsiteX3" fmla="*/ 11626627 w 12192000"/>
              <a:gd name="connsiteY3" fmla="*/ 776535 h 6858000"/>
              <a:gd name="connsiteX4" fmla="*/ 11616773 w 12192000"/>
              <a:gd name="connsiteY4" fmla="*/ 766683 h 6858000"/>
              <a:gd name="connsiteX5" fmla="*/ 11435366 w 12192000"/>
              <a:gd name="connsiteY5" fmla="*/ 690142 h 6858000"/>
              <a:gd name="connsiteX6" fmla="*/ 11450674 w 12192000"/>
              <a:gd name="connsiteY6" fmla="*/ 692078 h 6858000"/>
              <a:gd name="connsiteX7" fmla="*/ 11452081 w 12192000"/>
              <a:gd name="connsiteY7" fmla="*/ 692078 h 6858000"/>
              <a:gd name="connsiteX8" fmla="*/ 11450674 w 12192000"/>
              <a:gd name="connsiteY8" fmla="*/ 693485 h 6858000"/>
              <a:gd name="connsiteX9" fmla="*/ 11430967 w 12192000"/>
              <a:gd name="connsiteY9" fmla="*/ 710377 h 6858000"/>
              <a:gd name="connsiteX10" fmla="*/ 11414075 w 12192000"/>
              <a:gd name="connsiteY10" fmla="*/ 714599 h 6858000"/>
              <a:gd name="connsiteX11" fmla="*/ 11399999 w 12192000"/>
              <a:gd name="connsiteY11" fmla="*/ 711785 h 6858000"/>
              <a:gd name="connsiteX12" fmla="*/ 11416891 w 12192000"/>
              <a:gd name="connsiteY12" fmla="*/ 697709 h 6858000"/>
              <a:gd name="connsiteX13" fmla="*/ 11435366 w 12192000"/>
              <a:gd name="connsiteY13" fmla="*/ 690142 h 6858000"/>
              <a:gd name="connsiteX14" fmla="*/ 11461934 w 12192000"/>
              <a:gd name="connsiteY14" fmla="*/ 609028 h 6858000"/>
              <a:gd name="connsiteX15" fmla="*/ 11474603 w 12192000"/>
              <a:gd name="connsiteY15" fmla="*/ 618881 h 6858000"/>
              <a:gd name="connsiteX16" fmla="*/ 11461934 w 12192000"/>
              <a:gd name="connsiteY16" fmla="*/ 628735 h 6858000"/>
              <a:gd name="connsiteX17" fmla="*/ 11449266 w 12192000"/>
              <a:gd name="connsiteY17" fmla="*/ 618881 h 6858000"/>
              <a:gd name="connsiteX18" fmla="*/ 11461934 w 12192000"/>
              <a:gd name="connsiteY18" fmla="*/ 609028 h 6858000"/>
              <a:gd name="connsiteX19" fmla="*/ 11508387 w 12192000"/>
              <a:gd name="connsiteY19" fmla="*/ 530201 h 6858000"/>
              <a:gd name="connsiteX20" fmla="*/ 11674486 w 12192000"/>
              <a:gd name="connsiteY20" fmla="*/ 606213 h 6858000"/>
              <a:gd name="connsiteX21" fmla="*/ 11678709 w 12192000"/>
              <a:gd name="connsiteY21" fmla="*/ 679408 h 6858000"/>
              <a:gd name="connsiteX22" fmla="*/ 11625219 w 12192000"/>
              <a:gd name="connsiteY22" fmla="*/ 676593 h 6858000"/>
              <a:gd name="connsiteX23" fmla="*/ 11629443 w 12192000"/>
              <a:gd name="connsiteY23" fmla="*/ 666741 h 6858000"/>
              <a:gd name="connsiteX24" fmla="*/ 11636480 w 12192000"/>
              <a:gd name="connsiteY24" fmla="*/ 665332 h 6858000"/>
              <a:gd name="connsiteX25" fmla="*/ 11637888 w 12192000"/>
              <a:gd name="connsiteY25" fmla="*/ 661110 h 6858000"/>
              <a:gd name="connsiteX26" fmla="*/ 11620997 w 12192000"/>
              <a:gd name="connsiteY26" fmla="*/ 655479 h 6858000"/>
              <a:gd name="connsiteX27" fmla="*/ 11599881 w 12192000"/>
              <a:gd name="connsiteY27" fmla="*/ 656888 h 6858000"/>
              <a:gd name="connsiteX28" fmla="*/ 11591435 w 12192000"/>
              <a:gd name="connsiteY28" fmla="*/ 654071 h 6858000"/>
              <a:gd name="connsiteX29" fmla="*/ 11588620 w 12192000"/>
              <a:gd name="connsiteY29" fmla="*/ 649849 h 6858000"/>
              <a:gd name="connsiteX30" fmla="*/ 11591435 w 12192000"/>
              <a:gd name="connsiteY30" fmla="*/ 641403 h 6858000"/>
              <a:gd name="connsiteX31" fmla="*/ 11599881 w 12192000"/>
              <a:gd name="connsiteY31" fmla="*/ 639996 h 6858000"/>
              <a:gd name="connsiteX32" fmla="*/ 11601290 w 12192000"/>
              <a:gd name="connsiteY32" fmla="*/ 635772 h 6858000"/>
              <a:gd name="connsiteX33" fmla="*/ 11584398 w 12192000"/>
              <a:gd name="connsiteY33" fmla="*/ 630142 h 6858000"/>
              <a:gd name="connsiteX34" fmla="*/ 11563284 w 12192000"/>
              <a:gd name="connsiteY34" fmla="*/ 631550 h 6858000"/>
              <a:gd name="connsiteX35" fmla="*/ 11554838 w 12192000"/>
              <a:gd name="connsiteY35" fmla="*/ 628735 h 6858000"/>
              <a:gd name="connsiteX36" fmla="*/ 11552023 w 12192000"/>
              <a:gd name="connsiteY36" fmla="*/ 624511 h 6858000"/>
              <a:gd name="connsiteX37" fmla="*/ 11554838 w 12192000"/>
              <a:gd name="connsiteY37" fmla="*/ 614659 h 6858000"/>
              <a:gd name="connsiteX38" fmla="*/ 11563284 w 12192000"/>
              <a:gd name="connsiteY38" fmla="*/ 613250 h 6858000"/>
              <a:gd name="connsiteX39" fmla="*/ 11564691 w 12192000"/>
              <a:gd name="connsiteY39" fmla="*/ 609028 h 6858000"/>
              <a:gd name="connsiteX40" fmla="*/ 11547799 w 12192000"/>
              <a:gd name="connsiteY40" fmla="*/ 603397 h 6858000"/>
              <a:gd name="connsiteX41" fmla="*/ 11526685 w 12192000"/>
              <a:gd name="connsiteY41" fmla="*/ 604804 h 6858000"/>
              <a:gd name="connsiteX42" fmla="*/ 11522463 w 12192000"/>
              <a:gd name="connsiteY42" fmla="*/ 603397 h 6858000"/>
              <a:gd name="connsiteX43" fmla="*/ 11521055 w 12192000"/>
              <a:gd name="connsiteY43" fmla="*/ 600582 h 6858000"/>
              <a:gd name="connsiteX44" fmla="*/ 11522463 w 12192000"/>
              <a:gd name="connsiteY44" fmla="*/ 593545 h 6858000"/>
              <a:gd name="connsiteX45" fmla="*/ 11523870 w 12192000"/>
              <a:gd name="connsiteY45" fmla="*/ 573836 h 6858000"/>
              <a:gd name="connsiteX46" fmla="*/ 11511200 w 12192000"/>
              <a:gd name="connsiteY46" fmla="*/ 551315 h 6858000"/>
              <a:gd name="connsiteX47" fmla="*/ 11506978 w 12192000"/>
              <a:gd name="connsiteY47" fmla="*/ 549907 h 6858000"/>
              <a:gd name="connsiteX48" fmla="*/ 11505571 w 12192000"/>
              <a:gd name="connsiteY48" fmla="*/ 555537 h 6858000"/>
              <a:gd name="connsiteX49" fmla="*/ 11480234 w 12192000"/>
              <a:gd name="connsiteY49" fmla="*/ 589321 h 6858000"/>
              <a:gd name="connsiteX50" fmla="*/ 11471788 w 12192000"/>
              <a:gd name="connsiteY50" fmla="*/ 589321 h 6858000"/>
              <a:gd name="connsiteX51" fmla="*/ 11466157 w 12192000"/>
              <a:gd name="connsiteY51" fmla="*/ 589321 h 6858000"/>
              <a:gd name="connsiteX52" fmla="*/ 11463342 w 12192000"/>
              <a:gd name="connsiteY52" fmla="*/ 589321 h 6858000"/>
              <a:gd name="connsiteX53" fmla="*/ 11457711 w 12192000"/>
              <a:gd name="connsiteY53" fmla="*/ 589321 h 6858000"/>
              <a:gd name="connsiteX54" fmla="*/ 11449266 w 12192000"/>
              <a:gd name="connsiteY54" fmla="*/ 590728 h 6858000"/>
              <a:gd name="connsiteX55" fmla="*/ 11429558 w 12192000"/>
              <a:gd name="connsiteY55" fmla="*/ 610435 h 6858000"/>
              <a:gd name="connsiteX56" fmla="*/ 11429558 w 12192000"/>
              <a:gd name="connsiteY56" fmla="*/ 613250 h 6858000"/>
              <a:gd name="connsiteX57" fmla="*/ 11426743 w 12192000"/>
              <a:gd name="connsiteY57" fmla="*/ 617474 h 6858000"/>
              <a:gd name="connsiteX58" fmla="*/ 11415482 w 12192000"/>
              <a:gd name="connsiteY58" fmla="*/ 618881 h 6858000"/>
              <a:gd name="connsiteX59" fmla="*/ 11373254 w 12192000"/>
              <a:gd name="connsiteY59" fmla="*/ 607619 h 6858000"/>
              <a:gd name="connsiteX60" fmla="*/ 11370439 w 12192000"/>
              <a:gd name="connsiteY60" fmla="*/ 606213 h 6858000"/>
              <a:gd name="connsiteX61" fmla="*/ 11369031 w 12192000"/>
              <a:gd name="connsiteY61" fmla="*/ 607619 h 6858000"/>
              <a:gd name="connsiteX62" fmla="*/ 11357769 w 12192000"/>
              <a:gd name="connsiteY62" fmla="*/ 637181 h 6858000"/>
              <a:gd name="connsiteX63" fmla="*/ 11377476 w 12192000"/>
              <a:gd name="connsiteY63" fmla="*/ 673778 h 6858000"/>
              <a:gd name="connsiteX64" fmla="*/ 11384514 w 12192000"/>
              <a:gd name="connsiteY64" fmla="*/ 678002 h 6858000"/>
              <a:gd name="connsiteX65" fmla="*/ 11384514 w 12192000"/>
              <a:gd name="connsiteY65" fmla="*/ 675186 h 6858000"/>
              <a:gd name="connsiteX66" fmla="*/ 11387331 w 12192000"/>
              <a:gd name="connsiteY66" fmla="*/ 665332 h 6858000"/>
              <a:gd name="connsiteX67" fmla="*/ 11405629 w 12192000"/>
              <a:gd name="connsiteY67" fmla="*/ 661110 h 6858000"/>
              <a:gd name="connsiteX68" fmla="*/ 11407036 w 12192000"/>
              <a:gd name="connsiteY68" fmla="*/ 662517 h 6858000"/>
              <a:gd name="connsiteX69" fmla="*/ 11419706 w 12192000"/>
              <a:gd name="connsiteY69" fmla="*/ 666741 h 6858000"/>
              <a:gd name="connsiteX70" fmla="*/ 11432374 w 12192000"/>
              <a:gd name="connsiteY70" fmla="*/ 662517 h 6858000"/>
              <a:gd name="connsiteX71" fmla="*/ 11450674 w 12192000"/>
              <a:gd name="connsiteY71" fmla="*/ 662517 h 6858000"/>
              <a:gd name="connsiteX72" fmla="*/ 11453489 w 12192000"/>
              <a:gd name="connsiteY72" fmla="*/ 678002 h 6858000"/>
              <a:gd name="connsiteX73" fmla="*/ 11453489 w 12192000"/>
              <a:gd name="connsiteY73" fmla="*/ 679408 h 6858000"/>
              <a:gd name="connsiteX74" fmla="*/ 11452081 w 12192000"/>
              <a:gd name="connsiteY74" fmla="*/ 679408 h 6858000"/>
              <a:gd name="connsiteX75" fmla="*/ 11418297 w 12192000"/>
              <a:gd name="connsiteY75" fmla="*/ 676593 h 6858000"/>
              <a:gd name="connsiteX76" fmla="*/ 11398590 w 12192000"/>
              <a:gd name="connsiteY76" fmla="*/ 685039 h 6858000"/>
              <a:gd name="connsiteX77" fmla="*/ 11364808 w 12192000"/>
              <a:gd name="connsiteY77" fmla="*/ 692078 h 6858000"/>
              <a:gd name="connsiteX78" fmla="*/ 11343693 w 12192000"/>
              <a:gd name="connsiteY78" fmla="*/ 672371 h 6858000"/>
              <a:gd name="connsiteX79" fmla="*/ 11342286 w 12192000"/>
              <a:gd name="connsiteY79" fmla="*/ 669556 h 6858000"/>
              <a:gd name="connsiteX80" fmla="*/ 11340878 w 12192000"/>
              <a:gd name="connsiteY80" fmla="*/ 673778 h 6858000"/>
              <a:gd name="connsiteX81" fmla="*/ 11349323 w 12192000"/>
              <a:gd name="connsiteY81" fmla="*/ 707561 h 6858000"/>
              <a:gd name="connsiteX82" fmla="*/ 11390146 w 12192000"/>
              <a:gd name="connsiteY82" fmla="*/ 713192 h 6858000"/>
              <a:gd name="connsiteX83" fmla="*/ 11391553 w 12192000"/>
              <a:gd name="connsiteY83" fmla="*/ 711785 h 6858000"/>
              <a:gd name="connsiteX84" fmla="*/ 11391553 w 12192000"/>
              <a:gd name="connsiteY84" fmla="*/ 713192 h 6858000"/>
              <a:gd name="connsiteX85" fmla="*/ 11395775 w 12192000"/>
              <a:gd name="connsiteY85" fmla="*/ 727269 h 6858000"/>
              <a:gd name="connsiteX86" fmla="*/ 11414075 w 12192000"/>
              <a:gd name="connsiteY86" fmla="*/ 739936 h 6858000"/>
              <a:gd name="connsiteX87" fmla="*/ 11436598 w 12192000"/>
              <a:gd name="connsiteY87" fmla="*/ 730084 h 6858000"/>
              <a:gd name="connsiteX88" fmla="*/ 11484456 w 12192000"/>
              <a:gd name="connsiteY88" fmla="*/ 713192 h 6858000"/>
              <a:gd name="connsiteX89" fmla="*/ 11552023 w 12192000"/>
              <a:gd name="connsiteY89" fmla="*/ 786388 h 6858000"/>
              <a:gd name="connsiteX90" fmla="*/ 11557654 w 12192000"/>
              <a:gd name="connsiteY90" fmla="*/ 796242 h 6858000"/>
              <a:gd name="connsiteX91" fmla="*/ 11557654 w 12192000"/>
              <a:gd name="connsiteY91" fmla="*/ 797649 h 6858000"/>
              <a:gd name="connsiteX92" fmla="*/ 11563284 w 12192000"/>
              <a:gd name="connsiteY92" fmla="*/ 801873 h 6858000"/>
              <a:gd name="connsiteX93" fmla="*/ 11566099 w 12192000"/>
              <a:gd name="connsiteY93" fmla="*/ 797649 h 6858000"/>
              <a:gd name="connsiteX94" fmla="*/ 11595659 w 12192000"/>
              <a:gd name="connsiteY94" fmla="*/ 758237 h 6858000"/>
              <a:gd name="connsiteX95" fmla="*/ 11622404 w 12192000"/>
              <a:gd name="connsiteY95" fmla="*/ 754013 h 6858000"/>
              <a:gd name="connsiteX96" fmla="*/ 11625219 w 12192000"/>
              <a:gd name="connsiteY96" fmla="*/ 754013 h 6858000"/>
              <a:gd name="connsiteX97" fmla="*/ 11650556 w 12192000"/>
              <a:gd name="connsiteY97" fmla="*/ 744160 h 6858000"/>
              <a:gd name="connsiteX98" fmla="*/ 11718122 w 12192000"/>
              <a:gd name="connsiteY98" fmla="*/ 718823 h 6858000"/>
              <a:gd name="connsiteX99" fmla="*/ 11727976 w 12192000"/>
              <a:gd name="connsiteY99" fmla="*/ 721638 h 6858000"/>
              <a:gd name="connsiteX100" fmla="*/ 11725161 w 12192000"/>
              <a:gd name="connsiteY100" fmla="*/ 728675 h 6858000"/>
              <a:gd name="connsiteX101" fmla="*/ 11720939 w 12192000"/>
              <a:gd name="connsiteY101" fmla="*/ 730084 h 6858000"/>
              <a:gd name="connsiteX102" fmla="*/ 11639295 w 12192000"/>
              <a:gd name="connsiteY102" fmla="*/ 789205 h 6858000"/>
              <a:gd name="connsiteX103" fmla="*/ 11636480 w 12192000"/>
              <a:gd name="connsiteY103" fmla="*/ 810319 h 6858000"/>
              <a:gd name="connsiteX104" fmla="*/ 11636480 w 12192000"/>
              <a:gd name="connsiteY104" fmla="*/ 820172 h 6858000"/>
              <a:gd name="connsiteX105" fmla="*/ 11609736 w 12192000"/>
              <a:gd name="connsiteY105" fmla="*/ 886330 h 6858000"/>
              <a:gd name="connsiteX106" fmla="*/ 11582989 w 12192000"/>
              <a:gd name="connsiteY106" fmla="*/ 908852 h 6858000"/>
              <a:gd name="connsiteX107" fmla="*/ 11577361 w 12192000"/>
              <a:gd name="connsiteY107" fmla="*/ 914483 h 6858000"/>
              <a:gd name="connsiteX108" fmla="*/ 11571730 w 12192000"/>
              <a:gd name="connsiteY108" fmla="*/ 921520 h 6858000"/>
              <a:gd name="connsiteX109" fmla="*/ 11544984 w 12192000"/>
              <a:gd name="connsiteY109" fmla="*/ 951082 h 6858000"/>
              <a:gd name="connsiteX110" fmla="*/ 11518239 w 12192000"/>
              <a:gd name="connsiteY110" fmla="*/ 969380 h 6858000"/>
              <a:gd name="connsiteX111" fmla="*/ 11516833 w 12192000"/>
              <a:gd name="connsiteY111" fmla="*/ 969380 h 6858000"/>
              <a:gd name="connsiteX112" fmla="*/ 11515424 w 12192000"/>
              <a:gd name="connsiteY112" fmla="*/ 967974 h 6858000"/>
              <a:gd name="connsiteX113" fmla="*/ 11529501 w 12192000"/>
              <a:gd name="connsiteY113" fmla="*/ 946858 h 6858000"/>
              <a:gd name="connsiteX114" fmla="*/ 11543577 w 12192000"/>
              <a:gd name="connsiteY114" fmla="*/ 927151 h 6858000"/>
              <a:gd name="connsiteX115" fmla="*/ 11529501 w 12192000"/>
              <a:gd name="connsiteY115" fmla="*/ 932781 h 6858000"/>
              <a:gd name="connsiteX116" fmla="*/ 11515424 w 12192000"/>
              <a:gd name="connsiteY116" fmla="*/ 939821 h 6858000"/>
              <a:gd name="connsiteX117" fmla="*/ 11447857 w 12192000"/>
              <a:gd name="connsiteY117" fmla="*/ 958119 h 6858000"/>
              <a:gd name="connsiteX118" fmla="*/ 11447857 w 12192000"/>
              <a:gd name="connsiteY118" fmla="*/ 955304 h 6858000"/>
              <a:gd name="connsiteX119" fmla="*/ 11467564 w 12192000"/>
              <a:gd name="connsiteY119" fmla="*/ 942636 h 6858000"/>
              <a:gd name="connsiteX120" fmla="*/ 11528092 w 12192000"/>
              <a:gd name="connsiteY120" fmla="*/ 893369 h 6858000"/>
              <a:gd name="connsiteX121" fmla="*/ 11491495 w 12192000"/>
              <a:gd name="connsiteY121" fmla="*/ 866623 h 6858000"/>
              <a:gd name="connsiteX122" fmla="*/ 11430967 w 12192000"/>
              <a:gd name="connsiteY122" fmla="*/ 801873 h 6858000"/>
              <a:gd name="connsiteX123" fmla="*/ 11316948 w 12192000"/>
              <a:gd name="connsiteY123" fmla="*/ 856770 h 6858000"/>
              <a:gd name="connsiteX124" fmla="*/ 11288796 w 12192000"/>
              <a:gd name="connsiteY124" fmla="*/ 749791 h 6858000"/>
              <a:gd name="connsiteX125" fmla="*/ 11508387 w 12192000"/>
              <a:gd name="connsiteY125" fmla="*/ 530201 h 6858000"/>
              <a:gd name="connsiteX126" fmla="*/ 11509794 w 12192000"/>
              <a:gd name="connsiteY126" fmla="*/ 511901 h 6858000"/>
              <a:gd name="connsiteX127" fmla="*/ 11270497 w 12192000"/>
              <a:gd name="connsiteY127" fmla="*/ 751198 h 6858000"/>
              <a:gd name="connsiteX128" fmla="*/ 11509794 w 12192000"/>
              <a:gd name="connsiteY128" fmla="*/ 990494 h 6858000"/>
              <a:gd name="connsiteX129" fmla="*/ 11749090 w 12192000"/>
              <a:gd name="connsiteY129" fmla="*/ 751198 h 6858000"/>
              <a:gd name="connsiteX130" fmla="*/ 11509794 w 12192000"/>
              <a:gd name="connsiteY130" fmla="*/ 511901 h 6858000"/>
              <a:gd name="connsiteX131" fmla="*/ 0 w 12192000"/>
              <a:gd name="connsiteY131" fmla="*/ 0 h 6858000"/>
              <a:gd name="connsiteX132" fmla="*/ 12192000 w 12192000"/>
              <a:gd name="connsiteY132" fmla="*/ 0 h 6858000"/>
              <a:gd name="connsiteX133" fmla="*/ 12192000 w 12192000"/>
              <a:gd name="connsiteY133" fmla="*/ 6858000 h 6858000"/>
              <a:gd name="connsiteX134" fmla="*/ 0 w 12192000"/>
              <a:gd name="connsiteY13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</a:cxnLst>
            <a:rect l="l" t="t" r="r" b="b"/>
            <a:pathLst>
              <a:path w="12192000" h="6858000">
                <a:moveTo>
                  <a:pt x="11616773" y="766683"/>
                </a:moveTo>
                <a:cubicBezTo>
                  <a:pt x="11611142" y="766683"/>
                  <a:pt x="11606920" y="770905"/>
                  <a:pt x="11606920" y="776535"/>
                </a:cubicBezTo>
                <a:cubicBezTo>
                  <a:pt x="11606920" y="782166"/>
                  <a:pt x="11611142" y="786388"/>
                  <a:pt x="11616773" y="786388"/>
                </a:cubicBezTo>
                <a:cubicBezTo>
                  <a:pt x="11622404" y="784981"/>
                  <a:pt x="11626627" y="780759"/>
                  <a:pt x="11626627" y="776535"/>
                </a:cubicBezTo>
                <a:cubicBezTo>
                  <a:pt x="11626627" y="770905"/>
                  <a:pt x="11622404" y="766683"/>
                  <a:pt x="11616773" y="766683"/>
                </a:cubicBezTo>
                <a:close/>
                <a:moveTo>
                  <a:pt x="11435366" y="690142"/>
                </a:moveTo>
                <a:cubicBezTo>
                  <a:pt x="11440820" y="689262"/>
                  <a:pt x="11445747" y="689966"/>
                  <a:pt x="11450674" y="692078"/>
                </a:cubicBezTo>
                <a:lnTo>
                  <a:pt x="11452081" y="692078"/>
                </a:lnTo>
                <a:cubicBezTo>
                  <a:pt x="11452081" y="692078"/>
                  <a:pt x="11452081" y="693485"/>
                  <a:pt x="11450674" y="693485"/>
                </a:cubicBezTo>
                <a:cubicBezTo>
                  <a:pt x="11447857" y="699116"/>
                  <a:pt x="11442228" y="706155"/>
                  <a:pt x="11430967" y="710377"/>
                </a:cubicBezTo>
                <a:cubicBezTo>
                  <a:pt x="11423928" y="713192"/>
                  <a:pt x="11419706" y="714599"/>
                  <a:pt x="11414075" y="714599"/>
                </a:cubicBezTo>
                <a:cubicBezTo>
                  <a:pt x="11407036" y="714599"/>
                  <a:pt x="11401406" y="713192"/>
                  <a:pt x="11399999" y="711785"/>
                </a:cubicBezTo>
                <a:cubicBezTo>
                  <a:pt x="11399999" y="711785"/>
                  <a:pt x="11407036" y="704746"/>
                  <a:pt x="11416891" y="697709"/>
                </a:cubicBezTo>
                <a:cubicBezTo>
                  <a:pt x="11423929" y="693486"/>
                  <a:pt x="11429911" y="691022"/>
                  <a:pt x="11435366" y="690142"/>
                </a:cubicBezTo>
                <a:close/>
                <a:moveTo>
                  <a:pt x="11461934" y="609028"/>
                </a:moveTo>
                <a:cubicBezTo>
                  <a:pt x="11468973" y="609028"/>
                  <a:pt x="11474603" y="613250"/>
                  <a:pt x="11474603" y="618881"/>
                </a:cubicBezTo>
                <a:cubicBezTo>
                  <a:pt x="11474603" y="624511"/>
                  <a:pt x="11468973" y="628735"/>
                  <a:pt x="11461934" y="628735"/>
                </a:cubicBezTo>
                <a:cubicBezTo>
                  <a:pt x="11454896" y="628735"/>
                  <a:pt x="11449266" y="624511"/>
                  <a:pt x="11449266" y="618881"/>
                </a:cubicBezTo>
                <a:cubicBezTo>
                  <a:pt x="11449266" y="613250"/>
                  <a:pt x="11454896" y="609028"/>
                  <a:pt x="11461934" y="609028"/>
                </a:cubicBezTo>
                <a:close/>
                <a:moveTo>
                  <a:pt x="11508387" y="530201"/>
                </a:moveTo>
                <a:cubicBezTo>
                  <a:pt x="11574544" y="530201"/>
                  <a:pt x="11633665" y="559761"/>
                  <a:pt x="11674486" y="606213"/>
                </a:cubicBezTo>
                <a:cubicBezTo>
                  <a:pt x="11699823" y="638588"/>
                  <a:pt x="11695601" y="665332"/>
                  <a:pt x="11678709" y="679408"/>
                </a:cubicBezTo>
                <a:cubicBezTo>
                  <a:pt x="11657596" y="694893"/>
                  <a:pt x="11629443" y="689263"/>
                  <a:pt x="11625219" y="676593"/>
                </a:cubicBezTo>
                <a:cubicBezTo>
                  <a:pt x="11623812" y="669556"/>
                  <a:pt x="11629443" y="666741"/>
                  <a:pt x="11629443" y="666741"/>
                </a:cubicBezTo>
                <a:cubicBezTo>
                  <a:pt x="11630849" y="665332"/>
                  <a:pt x="11633665" y="665332"/>
                  <a:pt x="11636480" y="665332"/>
                </a:cubicBezTo>
                <a:cubicBezTo>
                  <a:pt x="11640704" y="665332"/>
                  <a:pt x="11640704" y="662517"/>
                  <a:pt x="11637888" y="661110"/>
                </a:cubicBezTo>
                <a:cubicBezTo>
                  <a:pt x="11633665" y="658295"/>
                  <a:pt x="11626627" y="655479"/>
                  <a:pt x="11620997" y="655479"/>
                </a:cubicBezTo>
                <a:cubicBezTo>
                  <a:pt x="11612551" y="655479"/>
                  <a:pt x="11599881" y="656888"/>
                  <a:pt x="11599881" y="656888"/>
                </a:cubicBezTo>
                <a:cubicBezTo>
                  <a:pt x="11597066" y="656888"/>
                  <a:pt x="11594252" y="655479"/>
                  <a:pt x="11591435" y="654071"/>
                </a:cubicBezTo>
                <a:cubicBezTo>
                  <a:pt x="11590028" y="652664"/>
                  <a:pt x="11588620" y="651256"/>
                  <a:pt x="11588620" y="649849"/>
                </a:cubicBezTo>
                <a:cubicBezTo>
                  <a:pt x="11587213" y="642811"/>
                  <a:pt x="11591435" y="641403"/>
                  <a:pt x="11591435" y="641403"/>
                </a:cubicBezTo>
                <a:cubicBezTo>
                  <a:pt x="11592844" y="639996"/>
                  <a:pt x="11597066" y="638588"/>
                  <a:pt x="11599881" y="639996"/>
                </a:cubicBezTo>
                <a:cubicBezTo>
                  <a:pt x="11604105" y="639996"/>
                  <a:pt x="11604105" y="637181"/>
                  <a:pt x="11601290" y="635772"/>
                </a:cubicBezTo>
                <a:cubicBezTo>
                  <a:pt x="11597066" y="632957"/>
                  <a:pt x="11590028" y="630142"/>
                  <a:pt x="11584398" y="630142"/>
                </a:cubicBezTo>
                <a:cubicBezTo>
                  <a:pt x="11575952" y="630142"/>
                  <a:pt x="11563284" y="631550"/>
                  <a:pt x="11563284" y="631550"/>
                </a:cubicBezTo>
                <a:cubicBezTo>
                  <a:pt x="11560469" y="631550"/>
                  <a:pt x="11557654" y="630142"/>
                  <a:pt x="11554838" y="628735"/>
                </a:cubicBezTo>
                <a:cubicBezTo>
                  <a:pt x="11553430" y="627326"/>
                  <a:pt x="11552023" y="625920"/>
                  <a:pt x="11552023" y="624511"/>
                </a:cubicBezTo>
                <a:cubicBezTo>
                  <a:pt x="11550614" y="617474"/>
                  <a:pt x="11554838" y="614659"/>
                  <a:pt x="11554838" y="614659"/>
                </a:cubicBezTo>
                <a:cubicBezTo>
                  <a:pt x="11556245" y="613250"/>
                  <a:pt x="11559060" y="611843"/>
                  <a:pt x="11563284" y="613250"/>
                </a:cubicBezTo>
                <a:cubicBezTo>
                  <a:pt x="11567506" y="613250"/>
                  <a:pt x="11567506" y="610435"/>
                  <a:pt x="11564691" y="609028"/>
                </a:cubicBezTo>
                <a:cubicBezTo>
                  <a:pt x="11560469" y="606213"/>
                  <a:pt x="11553430" y="603397"/>
                  <a:pt x="11547799" y="603397"/>
                </a:cubicBezTo>
                <a:cubicBezTo>
                  <a:pt x="11539353" y="603397"/>
                  <a:pt x="11526685" y="604804"/>
                  <a:pt x="11526685" y="604804"/>
                </a:cubicBezTo>
                <a:cubicBezTo>
                  <a:pt x="11525277" y="604804"/>
                  <a:pt x="11522463" y="604804"/>
                  <a:pt x="11522463" y="603397"/>
                </a:cubicBezTo>
                <a:cubicBezTo>
                  <a:pt x="11521055" y="601989"/>
                  <a:pt x="11521055" y="601989"/>
                  <a:pt x="11521055" y="600582"/>
                </a:cubicBezTo>
                <a:cubicBezTo>
                  <a:pt x="11521055" y="599174"/>
                  <a:pt x="11521055" y="596358"/>
                  <a:pt x="11522463" y="593545"/>
                </a:cubicBezTo>
                <a:cubicBezTo>
                  <a:pt x="11523870" y="587912"/>
                  <a:pt x="11525277" y="582282"/>
                  <a:pt x="11523870" y="573836"/>
                </a:cubicBezTo>
                <a:cubicBezTo>
                  <a:pt x="11522463" y="558353"/>
                  <a:pt x="11514017" y="552722"/>
                  <a:pt x="11511200" y="551315"/>
                </a:cubicBezTo>
                <a:cubicBezTo>
                  <a:pt x="11508387" y="549907"/>
                  <a:pt x="11506978" y="549907"/>
                  <a:pt x="11506978" y="549907"/>
                </a:cubicBezTo>
                <a:cubicBezTo>
                  <a:pt x="11506978" y="549907"/>
                  <a:pt x="11505571" y="552722"/>
                  <a:pt x="11505571" y="555537"/>
                </a:cubicBezTo>
                <a:cubicBezTo>
                  <a:pt x="11504163" y="566799"/>
                  <a:pt x="11502756" y="589321"/>
                  <a:pt x="11480234" y="589321"/>
                </a:cubicBezTo>
                <a:cubicBezTo>
                  <a:pt x="11477418" y="589321"/>
                  <a:pt x="11474603" y="589321"/>
                  <a:pt x="11471788" y="589321"/>
                </a:cubicBezTo>
                <a:cubicBezTo>
                  <a:pt x="11470379" y="589321"/>
                  <a:pt x="11467564" y="589321"/>
                  <a:pt x="11466157" y="589321"/>
                </a:cubicBezTo>
                <a:cubicBezTo>
                  <a:pt x="11464749" y="589321"/>
                  <a:pt x="11464749" y="589321"/>
                  <a:pt x="11463342" y="589321"/>
                </a:cubicBezTo>
                <a:cubicBezTo>
                  <a:pt x="11461934" y="589321"/>
                  <a:pt x="11459120" y="589321"/>
                  <a:pt x="11457711" y="589321"/>
                </a:cubicBezTo>
                <a:cubicBezTo>
                  <a:pt x="11454896" y="589321"/>
                  <a:pt x="11452081" y="589321"/>
                  <a:pt x="11449266" y="590728"/>
                </a:cubicBezTo>
                <a:cubicBezTo>
                  <a:pt x="11438004" y="593545"/>
                  <a:pt x="11430967" y="600582"/>
                  <a:pt x="11429558" y="610435"/>
                </a:cubicBezTo>
                <a:cubicBezTo>
                  <a:pt x="11429558" y="611843"/>
                  <a:pt x="11429558" y="611843"/>
                  <a:pt x="11429558" y="613250"/>
                </a:cubicBezTo>
                <a:cubicBezTo>
                  <a:pt x="11429558" y="614659"/>
                  <a:pt x="11429558" y="617474"/>
                  <a:pt x="11426743" y="617474"/>
                </a:cubicBezTo>
                <a:cubicBezTo>
                  <a:pt x="11426743" y="617474"/>
                  <a:pt x="11422521" y="618881"/>
                  <a:pt x="11415482" y="618881"/>
                </a:cubicBezTo>
                <a:cubicBezTo>
                  <a:pt x="11390146" y="621696"/>
                  <a:pt x="11380292" y="611843"/>
                  <a:pt x="11373254" y="607619"/>
                </a:cubicBezTo>
                <a:cubicBezTo>
                  <a:pt x="11371846" y="607619"/>
                  <a:pt x="11370439" y="606213"/>
                  <a:pt x="11370439" y="606213"/>
                </a:cubicBezTo>
                <a:cubicBezTo>
                  <a:pt x="11370439" y="606213"/>
                  <a:pt x="11370439" y="606213"/>
                  <a:pt x="11369031" y="607619"/>
                </a:cubicBezTo>
                <a:cubicBezTo>
                  <a:pt x="11364808" y="611843"/>
                  <a:pt x="11357769" y="624511"/>
                  <a:pt x="11357769" y="637181"/>
                </a:cubicBezTo>
                <a:cubicBezTo>
                  <a:pt x="11359178" y="658295"/>
                  <a:pt x="11373254" y="670963"/>
                  <a:pt x="11377476" y="673778"/>
                </a:cubicBezTo>
                <a:cubicBezTo>
                  <a:pt x="11381700" y="676593"/>
                  <a:pt x="11384514" y="678002"/>
                  <a:pt x="11384514" y="678002"/>
                </a:cubicBezTo>
                <a:cubicBezTo>
                  <a:pt x="11384514" y="678002"/>
                  <a:pt x="11384514" y="676593"/>
                  <a:pt x="11384514" y="675186"/>
                </a:cubicBezTo>
                <a:cubicBezTo>
                  <a:pt x="11384514" y="672371"/>
                  <a:pt x="11384514" y="669556"/>
                  <a:pt x="11387331" y="665332"/>
                </a:cubicBezTo>
                <a:cubicBezTo>
                  <a:pt x="11392960" y="655479"/>
                  <a:pt x="11401406" y="659701"/>
                  <a:pt x="11405629" y="661110"/>
                </a:cubicBezTo>
                <a:cubicBezTo>
                  <a:pt x="11407036" y="661110"/>
                  <a:pt x="11407036" y="661110"/>
                  <a:pt x="11407036" y="662517"/>
                </a:cubicBezTo>
                <a:cubicBezTo>
                  <a:pt x="11411260" y="663925"/>
                  <a:pt x="11415482" y="666741"/>
                  <a:pt x="11419706" y="666741"/>
                </a:cubicBezTo>
                <a:cubicBezTo>
                  <a:pt x="11423928" y="666741"/>
                  <a:pt x="11429558" y="663925"/>
                  <a:pt x="11432374" y="662517"/>
                </a:cubicBezTo>
                <a:cubicBezTo>
                  <a:pt x="11439413" y="659701"/>
                  <a:pt x="11446450" y="658295"/>
                  <a:pt x="11450674" y="662517"/>
                </a:cubicBezTo>
                <a:cubicBezTo>
                  <a:pt x="11454896" y="666741"/>
                  <a:pt x="11453489" y="676593"/>
                  <a:pt x="11453489" y="678002"/>
                </a:cubicBezTo>
                <a:lnTo>
                  <a:pt x="11453489" y="679408"/>
                </a:lnTo>
                <a:lnTo>
                  <a:pt x="11452081" y="679408"/>
                </a:lnTo>
                <a:cubicBezTo>
                  <a:pt x="11436598" y="673778"/>
                  <a:pt x="11430967" y="675186"/>
                  <a:pt x="11418297" y="676593"/>
                </a:cubicBezTo>
                <a:cubicBezTo>
                  <a:pt x="11411260" y="678002"/>
                  <a:pt x="11404221" y="682224"/>
                  <a:pt x="11398590" y="685039"/>
                </a:cubicBezTo>
                <a:cubicBezTo>
                  <a:pt x="11385922" y="692078"/>
                  <a:pt x="11380292" y="697709"/>
                  <a:pt x="11364808" y="692078"/>
                </a:cubicBezTo>
                <a:cubicBezTo>
                  <a:pt x="11350732" y="686448"/>
                  <a:pt x="11346508" y="678002"/>
                  <a:pt x="11343693" y="672371"/>
                </a:cubicBezTo>
                <a:cubicBezTo>
                  <a:pt x="11342286" y="670963"/>
                  <a:pt x="11342286" y="669556"/>
                  <a:pt x="11342286" y="669556"/>
                </a:cubicBezTo>
                <a:cubicBezTo>
                  <a:pt x="11342286" y="669556"/>
                  <a:pt x="11340878" y="670963"/>
                  <a:pt x="11340878" y="673778"/>
                </a:cubicBezTo>
                <a:cubicBezTo>
                  <a:pt x="11338062" y="680817"/>
                  <a:pt x="11338062" y="694893"/>
                  <a:pt x="11349323" y="707561"/>
                </a:cubicBezTo>
                <a:cubicBezTo>
                  <a:pt x="11364808" y="725860"/>
                  <a:pt x="11380292" y="718823"/>
                  <a:pt x="11390146" y="713192"/>
                </a:cubicBezTo>
                <a:lnTo>
                  <a:pt x="11391553" y="711785"/>
                </a:lnTo>
                <a:lnTo>
                  <a:pt x="11391553" y="713192"/>
                </a:lnTo>
                <a:cubicBezTo>
                  <a:pt x="11391553" y="716007"/>
                  <a:pt x="11392960" y="721638"/>
                  <a:pt x="11395775" y="727269"/>
                </a:cubicBezTo>
                <a:cubicBezTo>
                  <a:pt x="11398590" y="732899"/>
                  <a:pt x="11405629" y="739936"/>
                  <a:pt x="11414075" y="739936"/>
                </a:cubicBezTo>
                <a:cubicBezTo>
                  <a:pt x="11419706" y="739936"/>
                  <a:pt x="11428152" y="735714"/>
                  <a:pt x="11436598" y="730084"/>
                </a:cubicBezTo>
                <a:cubicBezTo>
                  <a:pt x="11452081" y="721638"/>
                  <a:pt x="11464749" y="710377"/>
                  <a:pt x="11484456" y="713192"/>
                </a:cubicBezTo>
                <a:cubicBezTo>
                  <a:pt x="11515424" y="718823"/>
                  <a:pt x="11540762" y="765274"/>
                  <a:pt x="11552023" y="786388"/>
                </a:cubicBezTo>
                <a:cubicBezTo>
                  <a:pt x="11554838" y="790612"/>
                  <a:pt x="11556245" y="794834"/>
                  <a:pt x="11557654" y="796242"/>
                </a:cubicBezTo>
                <a:cubicBezTo>
                  <a:pt x="11557654" y="796242"/>
                  <a:pt x="11557654" y="796242"/>
                  <a:pt x="11557654" y="797649"/>
                </a:cubicBezTo>
                <a:cubicBezTo>
                  <a:pt x="11559060" y="799058"/>
                  <a:pt x="11561876" y="803280"/>
                  <a:pt x="11563284" y="801873"/>
                </a:cubicBezTo>
                <a:cubicBezTo>
                  <a:pt x="11566099" y="800464"/>
                  <a:pt x="11566099" y="797649"/>
                  <a:pt x="11566099" y="797649"/>
                </a:cubicBezTo>
                <a:cubicBezTo>
                  <a:pt x="11568915" y="772313"/>
                  <a:pt x="11585806" y="762459"/>
                  <a:pt x="11595659" y="758237"/>
                </a:cubicBezTo>
                <a:cubicBezTo>
                  <a:pt x="11605512" y="754013"/>
                  <a:pt x="11615366" y="754013"/>
                  <a:pt x="11622404" y="754013"/>
                </a:cubicBezTo>
                <a:cubicBezTo>
                  <a:pt x="11623812" y="754013"/>
                  <a:pt x="11623812" y="754013"/>
                  <a:pt x="11625219" y="754013"/>
                </a:cubicBezTo>
                <a:cubicBezTo>
                  <a:pt x="11630849" y="754013"/>
                  <a:pt x="11639295" y="749791"/>
                  <a:pt x="11650556" y="744160"/>
                </a:cubicBezTo>
                <a:cubicBezTo>
                  <a:pt x="11667448" y="735714"/>
                  <a:pt x="11689971" y="724453"/>
                  <a:pt x="11718122" y="718823"/>
                </a:cubicBezTo>
                <a:cubicBezTo>
                  <a:pt x="11725161" y="717414"/>
                  <a:pt x="11727976" y="718823"/>
                  <a:pt x="11727976" y="721638"/>
                </a:cubicBezTo>
                <a:cubicBezTo>
                  <a:pt x="11727976" y="723045"/>
                  <a:pt x="11727976" y="727269"/>
                  <a:pt x="11725161" y="728675"/>
                </a:cubicBezTo>
                <a:lnTo>
                  <a:pt x="11720939" y="730084"/>
                </a:lnTo>
                <a:cubicBezTo>
                  <a:pt x="11692786" y="742752"/>
                  <a:pt x="11649150" y="758237"/>
                  <a:pt x="11639295" y="789205"/>
                </a:cubicBezTo>
                <a:cubicBezTo>
                  <a:pt x="11636480" y="794834"/>
                  <a:pt x="11636480" y="801873"/>
                  <a:pt x="11636480" y="810319"/>
                </a:cubicBezTo>
                <a:cubicBezTo>
                  <a:pt x="11636480" y="813134"/>
                  <a:pt x="11636480" y="815949"/>
                  <a:pt x="11636480" y="820172"/>
                </a:cubicBezTo>
                <a:cubicBezTo>
                  <a:pt x="11636480" y="855362"/>
                  <a:pt x="11619588" y="876477"/>
                  <a:pt x="11609736" y="886330"/>
                </a:cubicBezTo>
                <a:cubicBezTo>
                  <a:pt x="11599881" y="896184"/>
                  <a:pt x="11590028" y="904628"/>
                  <a:pt x="11582989" y="908852"/>
                </a:cubicBezTo>
                <a:cubicBezTo>
                  <a:pt x="11580176" y="911668"/>
                  <a:pt x="11577361" y="913074"/>
                  <a:pt x="11577361" y="914483"/>
                </a:cubicBezTo>
                <a:cubicBezTo>
                  <a:pt x="11577361" y="914483"/>
                  <a:pt x="11574544" y="917298"/>
                  <a:pt x="11571730" y="921520"/>
                </a:cubicBezTo>
                <a:cubicBezTo>
                  <a:pt x="11564691" y="929966"/>
                  <a:pt x="11554838" y="942636"/>
                  <a:pt x="11544984" y="951082"/>
                </a:cubicBezTo>
                <a:cubicBezTo>
                  <a:pt x="11535131" y="960934"/>
                  <a:pt x="11522463" y="969380"/>
                  <a:pt x="11518239" y="969380"/>
                </a:cubicBezTo>
                <a:cubicBezTo>
                  <a:pt x="11516833" y="969380"/>
                  <a:pt x="11516833" y="969380"/>
                  <a:pt x="11516833" y="969380"/>
                </a:cubicBezTo>
                <a:cubicBezTo>
                  <a:pt x="11516833" y="969380"/>
                  <a:pt x="11515424" y="967974"/>
                  <a:pt x="11515424" y="967974"/>
                </a:cubicBezTo>
                <a:cubicBezTo>
                  <a:pt x="11515424" y="965158"/>
                  <a:pt x="11521055" y="958119"/>
                  <a:pt x="11529501" y="946858"/>
                </a:cubicBezTo>
                <a:cubicBezTo>
                  <a:pt x="11539353" y="935597"/>
                  <a:pt x="11543577" y="928559"/>
                  <a:pt x="11543577" y="927151"/>
                </a:cubicBezTo>
                <a:cubicBezTo>
                  <a:pt x="11542168" y="927151"/>
                  <a:pt x="11536538" y="929966"/>
                  <a:pt x="11529501" y="932781"/>
                </a:cubicBezTo>
                <a:cubicBezTo>
                  <a:pt x="11525277" y="934190"/>
                  <a:pt x="11521055" y="937005"/>
                  <a:pt x="11515424" y="939821"/>
                </a:cubicBezTo>
                <a:cubicBezTo>
                  <a:pt x="11495717" y="949673"/>
                  <a:pt x="11453489" y="963750"/>
                  <a:pt x="11447857" y="958119"/>
                </a:cubicBezTo>
                <a:cubicBezTo>
                  <a:pt x="11446450" y="956712"/>
                  <a:pt x="11446450" y="956712"/>
                  <a:pt x="11447857" y="955304"/>
                </a:cubicBezTo>
                <a:cubicBezTo>
                  <a:pt x="11447857" y="952489"/>
                  <a:pt x="11454896" y="949673"/>
                  <a:pt x="11467564" y="942636"/>
                </a:cubicBezTo>
                <a:cubicBezTo>
                  <a:pt x="11488680" y="932781"/>
                  <a:pt x="11521055" y="915891"/>
                  <a:pt x="11528092" y="893369"/>
                </a:cubicBezTo>
                <a:cubicBezTo>
                  <a:pt x="11523870" y="893369"/>
                  <a:pt x="11509794" y="893369"/>
                  <a:pt x="11491495" y="866623"/>
                </a:cubicBezTo>
                <a:cubicBezTo>
                  <a:pt x="11468973" y="832841"/>
                  <a:pt x="11456303" y="801873"/>
                  <a:pt x="11430967" y="801873"/>
                </a:cubicBezTo>
                <a:cubicBezTo>
                  <a:pt x="11401406" y="801873"/>
                  <a:pt x="11339471" y="842694"/>
                  <a:pt x="11316948" y="856770"/>
                </a:cubicBezTo>
                <a:cubicBezTo>
                  <a:pt x="11298650" y="824395"/>
                  <a:pt x="11288796" y="789205"/>
                  <a:pt x="11288796" y="749791"/>
                </a:cubicBezTo>
                <a:cubicBezTo>
                  <a:pt x="11288796" y="628735"/>
                  <a:pt x="11387331" y="530201"/>
                  <a:pt x="11508387" y="530201"/>
                </a:cubicBezTo>
                <a:close/>
                <a:moveTo>
                  <a:pt x="11509794" y="511901"/>
                </a:moveTo>
                <a:cubicBezTo>
                  <a:pt x="11377476" y="511901"/>
                  <a:pt x="11270497" y="618881"/>
                  <a:pt x="11270497" y="751198"/>
                </a:cubicBezTo>
                <a:cubicBezTo>
                  <a:pt x="11270497" y="883515"/>
                  <a:pt x="11377476" y="990494"/>
                  <a:pt x="11509794" y="990494"/>
                </a:cubicBezTo>
                <a:cubicBezTo>
                  <a:pt x="11642111" y="990494"/>
                  <a:pt x="11749090" y="883515"/>
                  <a:pt x="11749090" y="751198"/>
                </a:cubicBezTo>
                <a:cubicBezTo>
                  <a:pt x="11749090" y="618881"/>
                  <a:pt x="11642111" y="511901"/>
                  <a:pt x="11509794" y="511901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7F0C7B-D46B-4175-B952-E7CAEE3A79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4572000" cy="2571750"/>
          </a:xfrm>
          <a:solidFill>
            <a:schemeClr val="tx2"/>
          </a:solidFill>
        </p:spPr>
        <p:txBody>
          <a:bodyPr vert="horz" lIns="432000" bIns="1908000" anchor="b"/>
          <a:lstStyle>
            <a:lvl1pPr>
              <a:defRPr sz="18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51F5C6AF-1472-401D-B0F7-407A5BCDEAFA}"/>
              </a:ext>
            </a:extLst>
          </p:cNvPr>
          <p:cNvSpPr>
            <a:spLocks noGrp="1"/>
          </p:cNvSpPr>
          <p:nvPr>
            <p:ph type="subTitle" idx="18"/>
          </p:nvPr>
        </p:nvSpPr>
        <p:spPr>
          <a:xfrm>
            <a:off x="332185" y="1271550"/>
            <a:ext cx="3969544" cy="276999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800" b="0" i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225"/>
              </a:spcAft>
              <a:buNone/>
              <a:defRPr sz="1800" i="1">
                <a:solidFill>
                  <a:schemeClr val="accent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421AFA1-CFA8-4349-87E3-C809AB0D53F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332185" y="4885343"/>
            <a:ext cx="5623560" cy="115416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First name last name, dat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350443B-EEA6-4F7B-A367-73BF70FE2A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8AD48C63-78A6-4D64-B839-4870EFEB9C1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F7D3E68-E6BC-482B-93CE-7446D8FBC101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3"/>
            </p:custDataLst>
          </p:nvPr>
        </p:nvSpPr>
        <p:spPr>
          <a:xfrm>
            <a:off x="6724036" y="4885343"/>
            <a:ext cx="1728839" cy="115416"/>
          </a:xfrm>
        </p:spPr>
        <p:txBody>
          <a:bodyPr/>
          <a:lstStyle>
            <a:lvl1pPr algn="r">
              <a:defRPr sz="750" b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Internal confidential  •  Copyright® 202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1881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9FCC3B"/>
          </p15:clr>
        </p15:guide>
        <p15:guide id="2" pos="3840">
          <p15:clr>
            <a:srgbClr val="9FCC3B"/>
          </p15:clr>
        </p15:guide>
        <p15:guide id="3" pos="7401">
          <p15:clr>
            <a:srgbClr val="9FCC3B"/>
          </p15:clr>
        </p15:guide>
        <p15:guide id="4" pos="279">
          <p15:clr>
            <a:srgbClr val="9FCC3B"/>
          </p15:clr>
        </p15:guide>
        <p15:guide id="5" orient="horz" pos="4042">
          <p15:clr>
            <a:srgbClr val="9FCC3B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Divider 2/4 | Colored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E8D2775-DFF9-4E16-A2A3-42779FB86D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67499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8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E8D2775-DFF9-4E16-A2A3-42779FB86D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FC46D103-DD16-4BDC-BE8F-2AD21522FCD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3500"/>
          </a:xfrm>
          <a:custGeom>
            <a:avLst/>
            <a:gdLst>
              <a:gd name="connsiteX0" fmla="*/ 11616773 w 12192000"/>
              <a:gd name="connsiteY0" fmla="*/ 766683 h 6858000"/>
              <a:gd name="connsiteX1" fmla="*/ 11606920 w 12192000"/>
              <a:gd name="connsiteY1" fmla="*/ 776535 h 6858000"/>
              <a:gd name="connsiteX2" fmla="*/ 11616773 w 12192000"/>
              <a:gd name="connsiteY2" fmla="*/ 786388 h 6858000"/>
              <a:gd name="connsiteX3" fmla="*/ 11626627 w 12192000"/>
              <a:gd name="connsiteY3" fmla="*/ 776535 h 6858000"/>
              <a:gd name="connsiteX4" fmla="*/ 11616773 w 12192000"/>
              <a:gd name="connsiteY4" fmla="*/ 766683 h 6858000"/>
              <a:gd name="connsiteX5" fmla="*/ 11435366 w 12192000"/>
              <a:gd name="connsiteY5" fmla="*/ 690142 h 6858000"/>
              <a:gd name="connsiteX6" fmla="*/ 11450674 w 12192000"/>
              <a:gd name="connsiteY6" fmla="*/ 692078 h 6858000"/>
              <a:gd name="connsiteX7" fmla="*/ 11452081 w 12192000"/>
              <a:gd name="connsiteY7" fmla="*/ 692078 h 6858000"/>
              <a:gd name="connsiteX8" fmla="*/ 11450674 w 12192000"/>
              <a:gd name="connsiteY8" fmla="*/ 693485 h 6858000"/>
              <a:gd name="connsiteX9" fmla="*/ 11430967 w 12192000"/>
              <a:gd name="connsiteY9" fmla="*/ 710377 h 6858000"/>
              <a:gd name="connsiteX10" fmla="*/ 11414075 w 12192000"/>
              <a:gd name="connsiteY10" fmla="*/ 714599 h 6858000"/>
              <a:gd name="connsiteX11" fmla="*/ 11399999 w 12192000"/>
              <a:gd name="connsiteY11" fmla="*/ 711785 h 6858000"/>
              <a:gd name="connsiteX12" fmla="*/ 11416891 w 12192000"/>
              <a:gd name="connsiteY12" fmla="*/ 697709 h 6858000"/>
              <a:gd name="connsiteX13" fmla="*/ 11435366 w 12192000"/>
              <a:gd name="connsiteY13" fmla="*/ 690142 h 6858000"/>
              <a:gd name="connsiteX14" fmla="*/ 11461934 w 12192000"/>
              <a:gd name="connsiteY14" fmla="*/ 609028 h 6858000"/>
              <a:gd name="connsiteX15" fmla="*/ 11474603 w 12192000"/>
              <a:gd name="connsiteY15" fmla="*/ 618881 h 6858000"/>
              <a:gd name="connsiteX16" fmla="*/ 11461934 w 12192000"/>
              <a:gd name="connsiteY16" fmla="*/ 628735 h 6858000"/>
              <a:gd name="connsiteX17" fmla="*/ 11449266 w 12192000"/>
              <a:gd name="connsiteY17" fmla="*/ 618881 h 6858000"/>
              <a:gd name="connsiteX18" fmla="*/ 11461934 w 12192000"/>
              <a:gd name="connsiteY18" fmla="*/ 609028 h 6858000"/>
              <a:gd name="connsiteX19" fmla="*/ 11508387 w 12192000"/>
              <a:gd name="connsiteY19" fmla="*/ 530201 h 6858000"/>
              <a:gd name="connsiteX20" fmla="*/ 11674486 w 12192000"/>
              <a:gd name="connsiteY20" fmla="*/ 606213 h 6858000"/>
              <a:gd name="connsiteX21" fmla="*/ 11678709 w 12192000"/>
              <a:gd name="connsiteY21" fmla="*/ 679408 h 6858000"/>
              <a:gd name="connsiteX22" fmla="*/ 11625219 w 12192000"/>
              <a:gd name="connsiteY22" fmla="*/ 676593 h 6858000"/>
              <a:gd name="connsiteX23" fmla="*/ 11629443 w 12192000"/>
              <a:gd name="connsiteY23" fmla="*/ 666741 h 6858000"/>
              <a:gd name="connsiteX24" fmla="*/ 11636480 w 12192000"/>
              <a:gd name="connsiteY24" fmla="*/ 665332 h 6858000"/>
              <a:gd name="connsiteX25" fmla="*/ 11637888 w 12192000"/>
              <a:gd name="connsiteY25" fmla="*/ 661110 h 6858000"/>
              <a:gd name="connsiteX26" fmla="*/ 11620997 w 12192000"/>
              <a:gd name="connsiteY26" fmla="*/ 655479 h 6858000"/>
              <a:gd name="connsiteX27" fmla="*/ 11599881 w 12192000"/>
              <a:gd name="connsiteY27" fmla="*/ 656888 h 6858000"/>
              <a:gd name="connsiteX28" fmla="*/ 11591435 w 12192000"/>
              <a:gd name="connsiteY28" fmla="*/ 654071 h 6858000"/>
              <a:gd name="connsiteX29" fmla="*/ 11588620 w 12192000"/>
              <a:gd name="connsiteY29" fmla="*/ 649849 h 6858000"/>
              <a:gd name="connsiteX30" fmla="*/ 11591435 w 12192000"/>
              <a:gd name="connsiteY30" fmla="*/ 641403 h 6858000"/>
              <a:gd name="connsiteX31" fmla="*/ 11599881 w 12192000"/>
              <a:gd name="connsiteY31" fmla="*/ 639996 h 6858000"/>
              <a:gd name="connsiteX32" fmla="*/ 11601290 w 12192000"/>
              <a:gd name="connsiteY32" fmla="*/ 635772 h 6858000"/>
              <a:gd name="connsiteX33" fmla="*/ 11584398 w 12192000"/>
              <a:gd name="connsiteY33" fmla="*/ 630142 h 6858000"/>
              <a:gd name="connsiteX34" fmla="*/ 11563284 w 12192000"/>
              <a:gd name="connsiteY34" fmla="*/ 631550 h 6858000"/>
              <a:gd name="connsiteX35" fmla="*/ 11554838 w 12192000"/>
              <a:gd name="connsiteY35" fmla="*/ 628735 h 6858000"/>
              <a:gd name="connsiteX36" fmla="*/ 11552023 w 12192000"/>
              <a:gd name="connsiteY36" fmla="*/ 624511 h 6858000"/>
              <a:gd name="connsiteX37" fmla="*/ 11554838 w 12192000"/>
              <a:gd name="connsiteY37" fmla="*/ 614659 h 6858000"/>
              <a:gd name="connsiteX38" fmla="*/ 11563284 w 12192000"/>
              <a:gd name="connsiteY38" fmla="*/ 613250 h 6858000"/>
              <a:gd name="connsiteX39" fmla="*/ 11564691 w 12192000"/>
              <a:gd name="connsiteY39" fmla="*/ 609028 h 6858000"/>
              <a:gd name="connsiteX40" fmla="*/ 11547799 w 12192000"/>
              <a:gd name="connsiteY40" fmla="*/ 603397 h 6858000"/>
              <a:gd name="connsiteX41" fmla="*/ 11526685 w 12192000"/>
              <a:gd name="connsiteY41" fmla="*/ 604804 h 6858000"/>
              <a:gd name="connsiteX42" fmla="*/ 11522463 w 12192000"/>
              <a:gd name="connsiteY42" fmla="*/ 603397 h 6858000"/>
              <a:gd name="connsiteX43" fmla="*/ 11521055 w 12192000"/>
              <a:gd name="connsiteY43" fmla="*/ 600582 h 6858000"/>
              <a:gd name="connsiteX44" fmla="*/ 11522463 w 12192000"/>
              <a:gd name="connsiteY44" fmla="*/ 593545 h 6858000"/>
              <a:gd name="connsiteX45" fmla="*/ 11523870 w 12192000"/>
              <a:gd name="connsiteY45" fmla="*/ 573836 h 6858000"/>
              <a:gd name="connsiteX46" fmla="*/ 11511200 w 12192000"/>
              <a:gd name="connsiteY46" fmla="*/ 551315 h 6858000"/>
              <a:gd name="connsiteX47" fmla="*/ 11506978 w 12192000"/>
              <a:gd name="connsiteY47" fmla="*/ 549907 h 6858000"/>
              <a:gd name="connsiteX48" fmla="*/ 11505571 w 12192000"/>
              <a:gd name="connsiteY48" fmla="*/ 555537 h 6858000"/>
              <a:gd name="connsiteX49" fmla="*/ 11480234 w 12192000"/>
              <a:gd name="connsiteY49" fmla="*/ 589321 h 6858000"/>
              <a:gd name="connsiteX50" fmla="*/ 11471788 w 12192000"/>
              <a:gd name="connsiteY50" fmla="*/ 589321 h 6858000"/>
              <a:gd name="connsiteX51" fmla="*/ 11466157 w 12192000"/>
              <a:gd name="connsiteY51" fmla="*/ 589321 h 6858000"/>
              <a:gd name="connsiteX52" fmla="*/ 11463342 w 12192000"/>
              <a:gd name="connsiteY52" fmla="*/ 589321 h 6858000"/>
              <a:gd name="connsiteX53" fmla="*/ 11457711 w 12192000"/>
              <a:gd name="connsiteY53" fmla="*/ 589321 h 6858000"/>
              <a:gd name="connsiteX54" fmla="*/ 11449266 w 12192000"/>
              <a:gd name="connsiteY54" fmla="*/ 590728 h 6858000"/>
              <a:gd name="connsiteX55" fmla="*/ 11429558 w 12192000"/>
              <a:gd name="connsiteY55" fmla="*/ 610435 h 6858000"/>
              <a:gd name="connsiteX56" fmla="*/ 11429558 w 12192000"/>
              <a:gd name="connsiteY56" fmla="*/ 613250 h 6858000"/>
              <a:gd name="connsiteX57" fmla="*/ 11426743 w 12192000"/>
              <a:gd name="connsiteY57" fmla="*/ 617474 h 6858000"/>
              <a:gd name="connsiteX58" fmla="*/ 11415482 w 12192000"/>
              <a:gd name="connsiteY58" fmla="*/ 618881 h 6858000"/>
              <a:gd name="connsiteX59" fmla="*/ 11373254 w 12192000"/>
              <a:gd name="connsiteY59" fmla="*/ 607619 h 6858000"/>
              <a:gd name="connsiteX60" fmla="*/ 11370439 w 12192000"/>
              <a:gd name="connsiteY60" fmla="*/ 606213 h 6858000"/>
              <a:gd name="connsiteX61" fmla="*/ 11369031 w 12192000"/>
              <a:gd name="connsiteY61" fmla="*/ 607619 h 6858000"/>
              <a:gd name="connsiteX62" fmla="*/ 11357769 w 12192000"/>
              <a:gd name="connsiteY62" fmla="*/ 637181 h 6858000"/>
              <a:gd name="connsiteX63" fmla="*/ 11377476 w 12192000"/>
              <a:gd name="connsiteY63" fmla="*/ 673778 h 6858000"/>
              <a:gd name="connsiteX64" fmla="*/ 11384514 w 12192000"/>
              <a:gd name="connsiteY64" fmla="*/ 678002 h 6858000"/>
              <a:gd name="connsiteX65" fmla="*/ 11384514 w 12192000"/>
              <a:gd name="connsiteY65" fmla="*/ 675186 h 6858000"/>
              <a:gd name="connsiteX66" fmla="*/ 11387331 w 12192000"/>
              <a:gd name="connsiteY66" fmla="*/ 665332 h 6858000"/>
              <a:gd name="connsiteX67" fmla="*/ 11405629 w 12192000"/>
              <a:gd name="connsiteY67" fmla="*/ 661110 h 6858000"/>
              <a:gd name="connsiteX68" fmla="*/ 11407036 w 12192000"/>
              <a:gd name="connsiteY68" fmla="*/ 662517 h 6858000"/>
              <a:gd name="connsiteX69" fmla="*/ 11419706 w 12192000"/>
              <a:gd name="connsiteY69" fmla="*/ 666741 h 6858000"/>
              <a:gd name="connsiteX70" fmla="*/ 11432374 w 12192000"/>
              <a:gd name="connsiteY70" fmla="*/ 662517 h 6858000"/>
              <a:gd name="connsiteX71" fmla="*/ 11450674 w 12192000"/>
              <a:gd name="connsiteY71" fmla="*/ 662517 h 6858000"/>
              <a:gd name="connsiteX72" fmla="*/ 11453489 w 12192000"/>
              <a:gd name="connsiteY72" fmla="*/ 678002 h 6858000"/>
              <a:gd name="connsiteX73" fmla="*/ 11453489 w 12192000"/>
              <a:gd name="connsiteY73" fmla="*/ 679408 h 6858000"/>
              <a:gd name="connsiteX74" fmla="*/ 11452081 w 12192000"/>
              <a:gd name="connsiteY74" fmla="*/ 679408 h 6858000"/>
              <a:gd name="connsiteX75" fmla="*/ 11418297 w 12192000"/>
              <a:gd name="connsiteY75" fmla="*/ 676593 h 6858000"/>
              <a:gd name="connsiteX76" fmla="*/ 11398590 w 12192000"/>
              <a:gd name="connsiteY76" fmla="*/ 685039 h 6858000"/>
              <a:gd name="connsiteX77" fmla="*/ 11364808 w 12192000"/>
              <a:gd name="connsiteY77" fmla="*/ 692078 h 6858000"/>
              <a:gd name="connsiteX78" fmla="*/ 11343693 w 12192000"/>
              <a:gd name="connsiteY78" fmla="*/ 672371 h 6858000"/>
              <a:gd name="connsiteX79" fmla="*/ 11342286 w 12192000"/>
              <a:gd name="connsiteY79" fmla="*/ 669556 h 6858000"/>
              <a:gd name="connsiteX80" fmla="*/ 11340878 w 12192000"/>
              <a:gd name="connsiteY80" fmla="*/ 673778 h 6858000"/>
              <a:gd name="connsiteX81" fmla="*/ 11349323 w 12192000"/>
              <a:gd name="connsiteY81" fmla="*/ 707561 h 6858000"/>
              <a:gd name="connsiteX82" fmla="*/ 11390146 w 12192000"/>
              <a:gd name="connsiteY82" fmla="*/ 713192 h 6858000"/>
              <a:gd name="connsiteX83" fmla="*/ 11391553 w 12192000"/>
              <a:gd name="connsiteY83" fmla="*/ 711785 h 6858000"/>
              <a:gd name="connsiteX84" fmla="*/ 11391553 w 12192000"/>
              <a:gd name="connsiteY84" fmla="*/ 713192 h 6858000"/>
              <a:gd name="connsiteX85" fmla="*/ 11395775 w 12192000"/>
              <a:gd name="connsiteY85" fmla="*/ 727269 h 6858000"/>
              <a:gd name="connsiteX86" fmla="*/ 11414075 w 12192000"/>
              <a:gd name="connsiteY86" fmla="*/ 739936 h 6858000"/>
              <a:gd name="connsiteX87" fmla="*/ 11436598 w 12192000"/>
              <a:gd name="connsiteY87" fmla="*/ 730084 h 6858000"/>
              <a:gd name="connsiteX88" fmla="*/ 11484456 w 12192000"/>
              <a:gd name="connsiteY88" fmla="*/ 713192 h 6858000"/>
              <a:gd name="connsiteX89" fmla="*/ 11552023 w 12192000"/>
              <a:gd name="connsiteY89" fmla="*/ 786388 h 6858000"/>
              <a:gd name="connsiteX90" fmla="*/ 11557654 w 12192000"/>
              <a:gd name="connsiteY90" fmla="*/ 796242 h 6858000"/>
              <a:gd name="connsiteX91" fmla="*/ 11557654 w 12192000"/>
              <a:gd name="connsiteY91" fmla="*/ 797649 h 6858000"/>
              <a:gd name="connsiteX92" fmla="*/ 11563284 w 12192000"/>
              <a:gd name="connsiteY92" fmla="*/ 801873 h 6858000"/>
              <a:gd name="connsiteX93" fmla="*/ 11566099 w 12192000"/>
              <a:gd name="connsiteY93" fmla="*/ 797649 h 6858000"/>
              <a:gd name="connsiteX94" fmla="*/ 11595659 w 12192000"/>
              <a:gd name="connsiteY94" fmla="*/ 758237 h 6858000"/>
              <a:gd name="connsiteX95" fmla="*/ 11622404 w 12192000"/>
              <a:gd name="connsiteY95" fmla="*/ 754013 h 6858000"/>
              <a:gd name="connsiteX96" fmla="*/ 11625219 w 12192000"/>
              <a:gd name="connsiteY96" fmla="*/ 754013 h 6858000"/>
              <a:gd name="connsiteX97" fmla="*/ 11650556 w 12192000"/>
              <a:gd name="connsiteY97" fmla="*/ 744160 h 6858000"/>
              <a:gd name="connsiteX98" fmla="*/ 11718122 w 12192000"/>
              <a:gd name="connsiteY98" fmla="*/ 718823 h 6858000"/>
              <a:gd name="connsiteX99" fmla="*/ 11727976 w 12192000"/>
              <a:gd name="connsiteY99" fmla="*/ 721638 h 6858000"/>
              <a:gd name="connsiteX100" fmla="*/ 11725161 w 12192000"/>
              <a:gd name="connsiteY100" fmla="*/ 728675 h 6858000"/>
              <a:gd name="connsiteX101" fmla="*/ 11720939 w 12192000"/>
              <a:gd name="connsiteY101" fmla="*/ 730084 h 6858000"/>
              <a:gd name="connsiteX102" fmla="*/ 11639295 w 12192000"/>
              <a:gd name="connsiteY102" fmla="*/ 789205 h 6858000"/>
              <a:gd name="connsiteX103" fmla="*/ 11636480 w 12192000"/>
              <a:gd name="connsiteY103" fmla="*/ 810319 h 6858000"/>
              <a:gd name="connsiteX104" fmla="*/ 11636480 w 12192000"/>
              <a:gd name="connsiteY104" fmla="*/ 820172 h 6858000"/>
              <a:gd name="connsiteX105" fmla="*/ 11609736 w 12192000"/>
              <a:gd name="connsiteY105" fmla="*/ 886330 h 6858000"/>
              <a:gd name="connsiteX106" fmla="*/ 11582989 w 12192000"/>
              <a:gd name="connsiteY106" fmla="*/ 908852 h 6858000"/>
              <a:gd name="connsiteX107" fmla="*/ 11577361 w 12192000"/>
              <a:gd name="connsiteY107" fmla="*/ 914483 h 6858000"/>
              <a:gd name="connsiteX108" fmla="*/ 11571730 w 12192000"/>
              <a:gd name="connsiteY108" fmla="*/ 921520 h 6858000"/>
              <a:gd name="connsiteX109" fmla="*/ 11544984 w 12192000"/>
              <a:gd name="connsiteY109" fmla="*/ 951082 h 6858000"/>
              <a:gd name="connsiteX110" fmla="*/ 11518239 w 12192000"/>
              <a:gd name="connsiteY110" fmla="*/ 969380 h 6858000"/>
              <a:gd name="connsiteX111" fmla="*/ 11516833 w 12192000"/>
              <a:gd name="connsiteY111" fmla="*/ 969380 h 6858000"/>
              <a:gd name="connsiteX112" fmla="*/ 11515424 w 12192000"/>
              <a:gd name="connsiteY112" fmla="*/ 967974 h 6858000"/>
              <a:gd name="connsiteX113" fmla="*/ 11529501 w 12192000"/>
              <a:gd name="connsiteY113" fmla="*/ 946858 h 6858000"/>
              <a:gd name="connsiteX114" fmla="*/ 11543577 w 12192000"/>
              <a:gd name="connsiteY114" fmla="*/ 927151 h 6858000"/>
              <a:gd name="connsiteX115" fmla="*/ 11529501 w 12192000"/>
              <a:gd name="connsiteY115" fmla="*/ 932781 h 6858000"/>
              <a:gd name="connsiteX116" fmla="*/ 11515424 w 12192000"/>
              <a:gd name="connsiteY116" fmla="*/ 939821 h 6858000"/>
              <a:gd name="connsiteX117" fmla="*/ 11447857 w 12192000"/>
              <a:gd name="connsiteY117" fmla="*/ 958119 h 6858000"/>
              <a:gd name="connsiteX118" fmla="*/ 11447857 w 12192000"/>
              <a:gd name="connsiteY118" fmla="*/ 955304 h 6858000"/>
              <a:gd name="connsiteX119" fmla="*/ 11467564 w 12192000"/>
              <a:gd name="connsiteY119" fmla="*/ 942636 h 6858000"/>
              <a:gd name="connsiteX120" fmla="*/ 11528092 w 12192000"/>
              <a:gd name="connsiteY120" fmla="*/ 893369 h 6858000"/>
              <a:gd name="connsiteX121" fmla="*/ 11491495 w 12192000"/>
              <a:gd name="connsiteY121" fmla="*/ 866623 h 6858000"/>
              <a:gd name="connsiteX122" fmla="*/ 11430967 w 12192000"/>
              <a:gd name="connsiteY122" fmla="*/ 801873 h 6858000"/>
              <a:gd name="connsiteX123" fmla="*/ 11316948 w 12192000"/>
              <a:gd name="connsiteY123" fmla="*/ 856770 h 6858000"/>
              <a:gd name="connsiteX124" fmla="*/ 11288796 w 12192000"/>
              <a:gd name="connsiteY124" fmla="*/ 749791 h 6858000"/>
              <a:gd name="connsiteX125" fmla="*/ 11508387 w 12192000"/>
              <a:gd name="connsiteY125" fmla="*/ 530201 h 6858000"/>
              <a:gd name="connsiteX126" fmla="*/ 11509794 w 12192000"/>
              <a:gd name="connsiteY126" fmla="*/ 511901 h 6858000"/>
              <a:gd name="connsiteX127" fmla="*/ 11270497 w 12192000"/>
              <a:gd name="connsiteY127" fmla="*/ 751198 h 6858000"/>
              <a:gd name="connsiteX128" fmla="*/ 11509794 w 12192000"/>
              <a:gd name="connsiteY128" fmla="*/ 990494 h 6858000"/>
              <a:gd name="connsiteX129" fmla="*/ 11749090 w 12192000"/>
              <a:gd name="connsiteY129" fmla="*/ 751198 h 6858000"/>
              <a:gd name="connsiteX130" fmla="*/ 11509794 w 12192000"/>
              <a:gd name="connsiteY130" fmla="*/ 511901 h 6858000"/>
              <a:gd name="connsiteX131" fmla="*/ 0 w 12192000"/>
              <a:gd name="connsiteY131" fmla="*/ 0 h 6858000"/>
              <a:gd name="connsiteX132" fmla="*/ 12192000 w 12192000"/>
              <a:gd name="connsiteY132" fmla="*/ 0 h 6858000"/>
              <a:gd name="connsiteX133" fmla="*/ 12192000 w 12192000"/>
              <a:gd name="connsiteY133" fmla="*/ 6858000 h 6858000"/>
              <a:gd name="connsiteX134" fmla="*/ 0 w 12192000"/>
              <a:gd name="connsiteY13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</a:cxnLst>
            <a:rect l="l" t="t" r="r" b="b"/>
            <a:pathLst>
              <a:path w="12192000" h="6858000">
                <a:moveTo>
                  <a:pt x="11616773" y="766683"/>
                </a:moveTo>
                <a:cubicBezTo>
                  <a:pt x="11611142" y="766683"/>
                  <a:pt x="11606920" y="770905"/>
                  <a:pt x="11606920" y="776535"/>
                </a:cubicBezTo>
                <a:cubicBezTo>
                  <a:pt x="11606920" y="782166"/>
                  <a:pt x="11611142" y="786388"/>
                  <a:pt x="11616773" y="786388"/>
                </a:cubicBezTo>
                <a:cubicBezTo>
                  <a:pt x="11622404" y="784981"/>
                  <a:pt x="11626627" y="780759"/>
                  <a:pt x="11626627" y="776535"/>
                </a:cubicBezTo>
                <a:cubicBezTo>
                  <a:pt x="11626627" y="770905"/>
                  <a:pt x="11622404" y="766683"/>
                  <a:pt x="11616773" y="766683"/>
                </a:cubicBezTo>
                <a:close/>
                <a:moveTo>
                  <a:pt x="11435366" y="690142"/>
                </a:moveTo>
                <a:cubicBezTo>
                  <a:pt x="11440820" y="689262"/>
                  <a:pt x="11445747" y="689966"/>
                  <a:pt x="11450674" y="692078"/>
                </a:cubicBezTo>
                <a:lnTo>
                  <a:pt x="11452081" y="692078"/>
                </a:lnTo>
                <a:cubicBezTo>
                  <a:pt x="11452081" y="692078"/>
                  <a:pt x="11452081" y="693485"/>
                  <a:pt x="11450674" y="693485"/>
                </a:cubicBezTo>
                <a:cubicBezTo>
                  <a:pt x="11447857" y="699116"/>
                  <a:pt x="11442228" y="706155"/>
                  <a:pt x="11430967" y="710377"/>
                </a:cubicBezTo>
                <a:cubicBezTo>
                  <a:pt x="11423928" y="713192"/>
                  <a:pt x="11419706" y="714599"/>
                  <a:pt x="11414075" y="714599"/>
                </a:cubicBezTo>
                <a:cubicBezTo>
                  <a:pt x="11407036" y="714599"/>
                  <a:pt x="11401406" y="713192"/>
                  <a:pt x="11399999" y="711785"/>
                </a:cubicBezTo>
                <a:cubicBezTo>
                  <a:pt x="11399999" y="711785"/>
                  <a:pt x="11407036" y="704746"/>
                  <a:pt x="11416891" y="697709"/>
                </a:cubicBezTo>
                <a:cubicBezTo>
                  <a:pt x="11423929" y="693486"/>
                  <a:pt x="11429911" y="691022"/>
                  <a:pt x="11435366" y="690142"/>
                </a:cubicBezTo>
                <a:close/>
                <a:moveTo>
                  <a:pt x="11461934" y="609028"/>
                </a:moveTo>
                <a:cubicBezTo>
                  <a:pt x="11468973" y="609028"/>
                  <a:pt x="11474603" y="613250"/>
                  <a:pt x="11474603" y="618881"/>
                </a:cubicBezTo>
                <a:cubicBezTo>
                  <a:pt x="11474603" y="624511"/>
                  <a:pt x="11468973" y="628735"/>
                  <a:pt x="11461934" y="628735"/>
                </a:cubicBezTo>
                <a:cubicBezTo>
                  <a:pt x="11454896" y="628735"/>
                  <a:pt x="11449266" y="624511"/>
                  <a:pt x="11449266" y="618881"/>
                </a:cubicBezTo>
                <a:cubicBezTo>
                  <a:pt x="11449266" y="613250"/>
                  <a:pt x="11454896" y="609028"/>
                  <a:pt x="11461934" y="609028"/>
                </a:cubicBezTo>
                <a:close/>
                <a:moveTo>
                  <a:pt x="11508387" y="530201"/>
                </a:moveTo>
                <a:cubicBezTo>
                  <a:pt x="11574544" y="530201"/>
                  <a:pt x="11633665" y="559761"/>
                  <a:pt x="11674486" y="606213"/>
                </a:cubicBezTo>
                <a:cubicBezTo>
                  <a:pt x="11699823" y="638588"/>
                  <a:pt x="11695601" y="665332"/>
                  <a:pt x="11678709" y="679408"/>
                </a:cubicBezTo>
                <a:cubicBezTo>
                  <a:pt x="11657596" y="694893"/>
                  <a:pt x="11629443" y="689263"/>
                  <a:pt x="11625219" y="676593"/>
                </a:cubicBezTo>
                <a:cubicBezTo>
                  <a:pt x="11623812" y="669556"/>
                  <a:pt x="11629443" y="666741"/>
                  <a:pt x="11629443" y="666741"/>
                </a:cubicBezTo>
                <a:cubicBezTo>
                  <a:pt x="11630849" y="665332"/>
                  <a:pt x="11633665" y="665332"/>
                  <a:pt x="11636480" y="665332"/>
                </a:cubicBezTo>
                <a:cubicBezTo>
                  <a:pt x="11640704" y="665332"/>
                  <a:pt x="11640704" y="662517"/>
                  <a:pt x="11637888" y="661110"/>
                </a:cubicBezTo>
                <a:cubicBezTo>
                  <a:pt x="11633665" y="658295"/>
                  <a:pt x="11626627" y="655479"/>
                  <a:pt x="11620997" y="655479"/>
                </a:cubicBezTo>
                <a:cubicBezTo>
                  <a:pt x="11612551" y="655479"/>
                  <a:pt x="11599881" y="656888"/>
                  <a:pt x="11599881" y="656888"/>
                </a:cubicBezTo>
                <a:cubicBezTo>
                  <a:pt x="11597066" y="656888"/>
                  <a:pt x="11594252" y="655479"/>
                  <a:pt x="11591435" y="654071"/>
                </a:cubicBezTo>
                <a:cubicBezTo>
                  <a:pt x="11590028" y="652664"/>
                  <a:pt x="11588620" y="651256"/>
                  <a:pt x="11588620" y="649849"/>
                </a:cubicBezTo>
                <a:cubicBezTo>
                  <a:pt x="11587213" y="642811"/>
                  <a:pt x="11591435" y="641403"/>
                  <a:pt x="11591435" y="641403"/>
                </a:cubicBezTo>
                <a:cubicBezTo>
                  <a:pt x="11592844" y="639996"/>
                  <a:pt x="11597066" y="638588"/>
                  <a:pt x="11599881" y="639996"/>
                </a:cubicBezTo>
                <a:cubicBezTo>
                  <a:pt x="11604105" y="639996"/>
                  <a:pt x="11604105" y="637181"/>
                  <a:pt x="11601290" y="635772"/>
                </a:cubicBezTo>
                <a:cubicBezTo>
                  <a:pt x="11597066" y="632957"/>
                  <a:pt x="11590028" y="630142"/>
                  <a:pt x="11584398" y="630142"/>
                </a:cubicBezTo>
                <a:cubicBezTo>
                  <a:pt x="11575952" y="630142"/>
                  <a:pt x="11563284" y="631550"/>
                  <a:pt x="11563284" y="631550"/>
                </a:cubicBezTo>
                <a:cubicBezTo>
                  <a:pt x="11560469" y="631550"/>
                  <a:pt x="11557654" y="630142"/>
                  <a:pt x="11554838" y="628735"/>
                </a:cubicBezTo>
                <a:cubicBezTo>
                  <a:pt x="11553430" y="627326"/>
                  <a:pt x="11552023" y="625920"/>
                  <a:pt x="11552023" y="624511"/>
                </a:cubicBezTo>
                <a:cubicBezTo>
                  <a:pt x="11550614" y="617474"/>
                  <a:pt x="11554838" y="614659"/>
                  <a:pt x="11554838" y="614659"/>
                </a:cubicBezTo>
                <a:cubicBezTo>
                  <a:pt x="11556245" y="613250"/>
                  <a:pt x="11559060" y="611843"/>
                  <a:pt x="11563284" y="613250"/>
                </a:cubicBezTo>
                <a:cubicBezTo>
                  <a:pt x="11567506" y="613250"/>
                  <a:pt x="11567506" y="610435"/>
                  <a:pt x="11564691" y="609028"/>
                </a:cubicBezTo>
                <a:cubicBezTo>
                  <a:pt x="11560469" y="606213"/>
                  <a:pt x="11553430" y="603397"/>
                  <a:pt x="11547799" y="603397"/>
                </a:cubicBezTo>
                <a:cubicBezTo>
                  <a:pt x="11539353" y="603397"/>
                  <a:pt x="11526685" y="604804"/>
                  <a:pt x="11526685" y="604804"/>
                </a:cubicBezTo>
                <a:cubicBezTo>
                  <a:pt x="11525277" y="604804"/>
                  <a:pt x="11522463" y="604804"/>
                  <a:pt x="11522463" y="603397"/>
                </a:cubicBezTo>
                <a:cubicBezTo>
                  <a:pt x="11521055" y="601989"/>
                  <a:pt x="11521055" y="601989"/>
                  <a:pt x="11521055" y="600582"/>
                </a:cubicBezTo>
                <a:cubicBezTo>
                  <a:pt x="11521055" y="599174"/>
                  <a:pt x="11521055" y="596358"/>
                  <a:pt x="11522463" y="593545"/>
                </a:cubicBezTo>
                <a:cubicBezTo>
                  <a:pt x="11523870" y="587912"/>
                  <a:pt x="11525277" y="582282"/>
                  <a:pt x="11523870" y="573836"/>
                </a:cubicBezTo>
                <a:cubicBezTo>
                  <a:pt x="11522463" y="558353"/>
                  <a:pt x="11514017" y="552722"/>
                  <a:pt x="11511200" y="551315"/>
                </a:cubicBezTo>
                <a:cubicBezTo>
                  <a:pt x="11508387" y="549907"/>
                  <a:pt x="11506978" y="549907"/>
                  <a:pt x="11506978" y="549907"/>
                </a:cubicBezTo>
                <a:cubicBezTo>
                  <a:pt x="11506978" y="549907"/>
                  <a:pt x="11505571" y="552722"/>
                  <a:pt x="11505571" y="555537"/>
                </a:cubicBezTo>
                <a:cubicBezTo>
                  <a:pt x="11504163" y="566799"/>
                  <a:pt x="11502756" y="589321"/>
                  <a:pt x="11480234" y="589321"/>
                </a:cubicBezTo>
                <a:cubicBezTo>
                  <a:pt x="11477418" y="589321"/>
                  <a:pt x="11474603" y="589321"/>
                  <a:pt x="11471788" y="589321"/>
                </a:cubicBezTo>
                <a:cubicBezTo>
                  <a:pt x="11470379" y="589321"/>
                  <a:pt x="11467564" y="589321"/>
                  <a:pt x="11466157" y="589321"/>
                </a:cubicBezTo>
                <a:cubicBezTo>
                  <a:pt x="11464749" y="589321"/>
                  <a:pt x="11464749" y="589321"/>
                  <a:pt x="11463342" y="589321"/>
                </a:cubicBezTo>
                <a:cubicBezTo>
                  <a:pt x="11461934" y="589321"/>
                  <a:pt x="11459120" y="589321"/>
                  <a:pt x="11457711" y="589321"/>
                </a:cubicBezTo>
                <a:cubicBezTo>
                  <a:pt x="11454896" y="589321"/>
                  <a:pt x="11452081" y="589321"/>
                  <a:pt x="11449266" y="590728"/>
                </a:cubicBezTo>
                <a:cubicBezTo>
                  <a:pt x="11438004" y="593545"/>
                  <a:pt x="11430967" y="600582"/>
                  <a:pt x="11429558" y="610435"/>
                </a:cubicBezTo>
                <a:cubicBezTo>
                  <a:pt x="11429558" y="611843"/>
                  <a:pt x="11429558" y="611843"/>
                  <a:pt x="11429558" y="613250"/>
                </a:cubicBezTo>
                <a:cubicBezTo>
                  <a:pt x="11429558" y="614659"/>
                  <a:pt x="11429558" y="617474"/>
                  <a:pt x="11426743" y="617474"/>
                </a:cubicBezTo>
                <a:cubicBezTo>
                  <a:pt x="11426743" y="617474"/>
                  <a:pt x="11422521" y="618881"/>
                  <a:pt x="11415482" y="618881"/>
                </a:cubicBezTo>
                <a:cubicBezTo>
                  <a:pt x="11390146" y="621696"/>
                  <a:pt x="11380292" y="611843"/>
                  <a:pt x="11373254" y="607619"/>
                </a:cubicBezTo>
                <a:cubicBezTo>
                  <a:pt x="11371846" y="607619"/>
                  <a:pt x="11370439" y="606213"/>
                  <a:pt x="11370439" y="606213"/>
                </a:cubicBezTo>
                <a:cubicBezTo>
                  <a:pt x="11370439" y="606213"/>
                  <a:pt x="11370439" y="606213"/>
                  <a:pt x="11369031" y="607619"/>
                </a:cubicBezTo>
                <a:cubicBezTo>
                  <a:pt x="11364808" y="611843"/>
                  <a:pt x="11357769" y="624511"/>
                  <a:pt x="11357769" y="637181"/>
                </a:cubicBezTo>
                <a:cubicBezTo>
                  <a:pt x="11359178" y="658295"/>
                  <a:pt x="11373254" y="670963"/>
                  <a:pt x="11377476" y="673778"/>
                </a:cubicBezTo>
                <a:cubicBezTo>
                  <a:pt x="11381700" y="676593"/>
                  <a:pt x="11384514" y="678002"/>
                  <a:pt x="11384514" y="678002"/>
                </a:cubicBezTo>
                <a:cubicBezTo>
                  <a:pt x="11384514" y="678002"/>
                  <a:pt x="11384514" y="676593"/>
                  <a:pt x="11384514" y="675186"/>
                </a:cubicBezTo>
                <a:cubicBezTo>
                  <a:pt x="11384514" y="672371"/>
                  <a:pt x="11384514" y="669556"/>
                  <a:pt x="11387331" y="665332"/>
                </a:cubicBezTo>
                <a:cubicBezTo>
                  <a:pt x="11392960" y="655479"/>
                  <a:pt x="11401406" y="659701"/>
                  <a:pt x="11405629" y="661110"/>
                </a:cubicBezTo>
                <a:cubicBezTo>
                  <a:pt x="11407036" y="661110"/>
                  <a:pt x="11407036" y="661110"/>
                  <a:pt x="11407036" y="662517"/>
                </a:cubicBezTo>
                <a:cubicBezTo>
                  <a:pt x="11411260" y="663925"/>
                  <a:pt x="11415482" y="666741"/>
                  <a:pt x="11419706" y="666741"/>
                </a:cubicBezTo>
                <a:cubicBezTo>
                  <a:pt x="11423928" y="666741"/>
                  <a:pt x="11429558" y="663925"/>
                  <a:pt x="11432374" y="662517"/>
                </a:cubicBezTo>
                <a:cubicBezTo>
                  <a:pt x="11439413" y="659701"/>
                  <a:pt x="11446450" y="658295"/>
                  <a:pt x="11450674" y="662517"/>
                </a:cubicBezTo>
                <a:cubicBezTo>
                  <a:pt x="11454896" y="666741"/>
                  <a:pt x="11453489" y="676593"/>
                  <a:pt x="11453489" y="678002"/>
                </a:cubicBezTo>
                <a:lnTo>
                  <a:pt x="11453489" y="679408"/>
                </a:lnTo>
                <a:lnTo>
                  <a:pt x="11452081" y="679408"/>
                </a:lnTo>
                <a:cubicBezTo>
                  <a:pt x="11436598" y="673778"/>
                  <a:pt x="11430967" y="675186"/>
                  <a:pt x="11418297" y="676593"/>
                </a:cubicBezTo>
                <a:cubicBezTo>
                  <a:pt x="11411260" y="678002"/>
                  <a:pt x="11404221" y="682224"/>
                  <a:pt x="11398590" y="685039"/>
                </a:cubicBezTo>
                <a:cubicBezTo>
                  <a:pt x="11385922" y="692078"/>
                  <a:pt x="11380292" y="697709"/>
                  <a:pt x="11364808" y="692078"/>
                </a:cubicBezTo>
                <a:cubicBezTo>
                  <a:pt x="11350732" y="686448"/>
                  <a:pt x="11346508" y="678002"/>
                  <a:pt x="11343693" y="672371"/>
                </a:cubicBezTo>
                <a:cubicBezTo>
                  <a:pt x="11342286" y="670963"/>
                  <a:pt x="11342286" y="669556"/>
                  <a:pt x="11342286" y="669556"/>
                </a:cubicBezTo>
                <a:cubicBezTo>
                  <a:pt x="11342286" y="669556"/>
                  <a:pt x="11340878" y="670963"/>
                  <a:pt x="11340878" y="673778"/>
                </a:cubicBezTo>
                <a:cubicBezTo>
                  <a:pt x="11338062" y="680817"/>
                  <a:pt x="11338062" y="694893"/>
                  <a:pt x="11349323" y="707561"/>
                </a:cubicBezTo>
                <a:cubicBezTo>
                  <a:pt x="11364808" y="725860"/>
                  <a:pt x="11380292" y="718823"/>
                  <a:pt x="11390146" y="713192"/>
                </a:cubicBezTo>
                <a:lnTo>
                  <a:pt x="11391553" y="711785"/>
                </a:lnTo>
                <a:lnTo>
                  <a:pt x="11391553" y="713192"/>
                </a:lnTo>
                <a:cubicBezTo>
                  <a:pt x="11391553" y="716007"/>
                  <a:pt x="11392960" y="721638"/>
                  <a:pt x="11395775" y="727269"/>
                </a:cubicBezTo>
                <a:cubicBezTo>
                  <a:pt x="11398590" y="732899"/>
                  <a:pt x="11405629" y="739936"/>
                  <a:pt x="11414075" y="739936"/>
                </a:cubicBezTo>
                <a:cubicBezTo>
                  <a:pt x="11419706" y="739936"/>
                  <a:pt x="11428152" y="735714"/>
                  <a:pt x="11436598" y="730084"/>
                </a:cubicBezTo>
                <a:cubicBezTo>
                  <a:pt x="11452081" y="721638"/>
                  <a:pt x="11464749" y="710377"/>
                  <a:pt x="11484456" y="713192"/>
                </a:cubicBezTo>
                <a:cubicBezTo>
                  <a:pt x="11515424" y="718823"/>
                  <a:pt x="11540762" y="765274"/>
                  <a:pt x="11552023" y="786388"/>
                </a:cubicBezTo>
                <a:cubicBezTo>
                  <a:pt x="11554838" y="790612"/>
                  <a:pt x="11556245" y="794834"/>
                  <a:pt x="11557654" y="796242"/>
                </a:cubicBezTo>
                <a:cubicBezTo>
                  <a:pt x="11557654" y="796242"/>
                  <a:pt x="11557654" y="796242"/>
                  <a:pt x="11557654" y="797649"/>
                </a:cubicBezTo>
                <a:cubicBezTo>
                  <a:pt x="11559060" y="799058"/>
                  <a:pt x="11561876" y="803280"/>
                  <a:pt x="11563284" y="801873"/>
                </a:cubicBezTo>
                <a:cubicBezTo>
                  <a:pt x="11566099" y="800464"/>
                  <a:pt x="11566099" y="797649"/>
                  <a:pt x="11566099" y="797649"/>
                </a:cubicBezTo>
                <a:cubicBezTo>
                  <a:pt x="11568915" y="772313"/>
                  <a:pt x="11585806" y="762459"/>
                  <a:pt x="11595659" y="758237"/>
                </a:cubicBezTo>
                <a:cubicBezTo>
                  <a:pt x="11605512" y="754013"/>
                  <a:pt x="11615366" y="754013"/>
                  <a:pt x="11622404" y="754013"/>
                </a:cubicBezTo>
                <a:cubicBezTo>
                  <a:pt x="11623812" y="754013"/>
                  <a:pt x="11623812" y="754013"/>
                  <a:pt x="11625219" y="754013"/>
                </a:cubicBezTo>
                <a:cubicBezTo>
                  <a:pt x="11630849" y="754013"/>
                  <a:pt x="11639295" y="749791"/>
                  <a:pt x="11650556" y="744160"/>
                </a:cubicBezTo>
                <a:cubicBezTo>
                  <a:pt x="11667448" y="735714"/>
                  <a:pt x="11689971" y="724453"/>
                  <a:pt x="11718122" y="718823"/>
                </a:cubicBezTo>
                <a:cubicBezTo>
                  <a:pt x="11725161" y="717414"/>
                  <a:pt x="11727976" y="718823"/>
                  <a:pt x="11727976" y="721638"/>
                </a:cubicBezTo>
                <a:cubicBezTo>
                  <a:pt x="11727976" y="723045"/>
                  <a:pt x="11727976" y="727269"/>
                  <a:pt x="11725161" y="728675"/>
                </a:cubicBezTo>
                <a:lnTo>
                  <a:pt x="11720939" y="730084"/>
                </a:lnTo>
                <a:cubicBezTo>
                  <a:pt x="11692786" y="742752"/>
                  <a:pt x="11649150" y="758237"/>
                  <a:pt x="11639295" y="789205"/>
                </a:cubicBezTo>
                <a:cubicBezTo>
                  <a:pt x="11636480" y="794834"/>
                  <a:pt x="11636480" y="801873"/>
                  <a:pt x="11636480" y="810319"/>
                </a:cubicBezTo>
                <a:cubicBezTo>
                  <a:pt x="11636480" y="813134"/>
                  <a:pt x="11636480" y="815949"/>
                  <a:pt x="11636480" y="820172"/>
                </a:cubicBezTo>
                <a:cubicBezTo>
                  <a:pt x="11636480" y="855362"/>
                  <a:pt x="11619588" y="876477"/>
                  <a:pt x="11609736" y="886330"/>
                </a:cubicBezTo>
                <a:cubicBezTo>
                  <a:pt x="11599881" y="896184"/>
                  <a:pt x="11590028" y="904628"/>
                  <a:pt x="11582989" y="908852"/>
                </a:cubicBezTo>
                <a:cubicBezTo>
                  <a:pt x="11580176" y="911668"/>
                  <a:pt x="11577361" y="913074"/>
                  <a:pt x="11577361" y="914483"/>
                </a:cubicBezTo>
                <a:cubicBezTo>
                  <a:pt x="11577361" y="914483"/>
                  <a:pt x="11574544" y="917298"/>
                  <a:pt x="11571730" y="921520"/>
                </a:cubicBezTo>
                <a:cubicBezTo>
                  <a:pt x="11564691" y="929966"/>
                  <a:pt x="11554838" y="942636"/>
                  <a:pt x="11544984" y="951082"/>
                </a:cubicBezTo>
                <a:cubicBezTo>
                  <a:pt x="11535131" y="960934"/>
                  <a:pt x="11522463" y="969380"/>
                  <a:pt x="11518239" y="969380"/>
                </a:cubicBezTo>
                <a:cubicBezTo>
                  <a:pt x="11516833" y="969380"/>
                  <a:pt x="11516833" y="969380"/>
                  <a:pt x="11516833" y="969380"/>
                </a:cubicBezTo>
                <a:cubicBezTo>
                  <a:pt x="11516833" y="969380"/>
                  <a:pt x="11515424" y="967974"/>
                  <a:pt x="11515424" y="967974"/>
                </a:cubicBezTo>
                <a:cubicBezTo>
                  <a:pt x="11515424" y="965158"/>
                  <a:pt x="11521055" y="958119"/>
                  <a:pt x="11529501" y="946858"/>
                </a:cubicBezTo>
                <a:cubicBezTo>
                  <a:pt x="11539353" y="935597"/>
                  <a:pt x="11543577" y="928559"/>
                  <a:pt x="11543577" y="927151"/>
                </a:cubicBezTo>
                <a:cubicBezTo>
                  <a:pt x="11542168" y="927151"/>
                  <a:pt x="11536538" y="929966"/>
                  <a:pt x="11529501" y="932781"/>
                </a:cubicBezTo>
                <a:cubicBezTo>
                  <a:pt x="11525277" y="934190"/>
                  <a:pt x="11521055" y="937005"/>
                  <a:pt x="11515424" y="939821"/>
                </a:cubicBezTo>
                <a:cubicBezTo>
                  <a:pt x="11495717" y="949673"/>
                  <a:pt x="11453489" y="963750"/>
                  <a:pt x="11447857" y="958119"/>
                </a:cubicBezTo>
                <a:cubicBezTo>
                  <a:pt x="11446450" y="956712"/>
                  <a:pt x="11446450" y="956712"/>
                  <a:pt x="11447857" y="955304"/>
                </a:cubicBezTo>
                <a:cubicBezTo>
                  <a:pt x="11447857" y="952489"/>
                  <a:pt x="11454896" y="949673"/>
                  <a:pt x="11467564" y="942636"/>
                </a:cubicBezTo>
                <a:cubicBezTo>
                  <a:pt x="11488680" y="932781"/>
                  <a:pt x="11521055" y="915891"/>
                  <a:pt x="11528092" y="893369"/>
                </a:cubicBezTo>
                <a:cubicBezTo>
                  <a:pt x="11523870" y="893369"/>
                  <a:pt x="11509794" y="893369"/>
                  <a:pt x="11491495" y="866623"/>
                </a:cubicBezTo>
                <a:cubicBezTo>
                  <a:pt x="11468973" y="832841"/>
                  <a:pt x="11456303" y="801873"/>
                  <a:pt x="11430967" y="801873"/>
                </a:cubicBezTo>
                <a:cubicBezTo>
                  <a:pt x="11401406" y="801873"/>
                  <a:pt x="11339471" y="842694"/>
                  <a:pt x="11316948" y="856770"/>
                </a:cubicBezTo>
                <a:cubicBezTo>
                  <a:pt x="11298650" y="824395"/>
                  <a:pt x="11288796" y="789205"/>
                  <a:pt x="11288796" y="749791"/>
                </a:cubicBezTo>
                <a:cubicBezTo>
                  <a:pt x="11288796" y="628735"/>
                  <a:pt x="11387331" y="530201"/>
                  <a:pt x="11508387" y="530201"/>
                </a:cubicBezTo>
                <a:close/>
                <a:moveTo>
                  <a:pt x="11509794" y="511901"/>
                </a:moveTo>
                <a:cubicBezTo>
                  <a:pt x="11377476" y="511901"/>
                  <a:pt x="11270497" y="618881"/>
                  <a:pt x="11270497" y="751198"/>
                </a:cubicBezTo>
                <a:cubicBezTo>
                  <a:pt x="11270497" y="883515"/>
                  <a:pt x="11377476" y="990494"/>
                  <a:pt x="11509794" y="990494"/>
                </a:cubicBezTo>
                <a:cubicBezTo>
                  <a:pt x="11642111" y="990494"/>
                  <a:pt x="11749090" y="883515"/>
                  <a:pt x="11749090" y="751198"/>
                </a:cubicBezTo>
                <a:cubicBezTo>
                  <a:pt x="11749090" y="618881"/>
                  <a:pt x="11642111" y="511901"/>
                  <a:pt x="11509794" y="511901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7F0C7B-D46B-4175-B952-E7CAEE3A79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2571750"/>
            <a:ext cx="4572000" cy="2571750"/>
          </a:xfrm>
          <a:solidFill>
            <a:schemeClr val="tx2"/>
          </a:solidFill>
        </p:spPr>
        <p:txBody>
          <a:bodyPr vert="horz" lIns="432000" bIns="1908000" anchor="b"/>
          <a:lstStyle>
            <a:lvl1pPr>
              <a:defRPr sz="18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88E0669-6039-48BD-BECB-DCBE7BF63614}"/>
              </a:ext>
            </a:extLst>
          </p:cNvPr>
          <p:cNvSpPr>
            <a:spLocks noGrp="1"/>
          </p:cNvSpPr>
          <p:nvPr>
            <p:ph type="subTitle" idx="18"/>
          </p:nvPr>
        </p:nvSpPr>
        <p:spPr>
          <a:xfrm>
            <a:off x="332185" y="3843300"/>
            <a:ext cx="3969544" cy="276999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800" b="0" i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225"/>
              </a:spcAft>
              <a:buNone/>
              <a:defRPr sz="1800" i="1">
                <a:solidFill>
                  <a:schemeClr val="accent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AD5D826-6E1D-4B3F-ACDA-E17226F8B56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332185" y="4885343"/>
            <a:ext cx="5623560" cy="115416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First name last name, date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BFF1B89-B560-432C-AC51-B4E5C520BEA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8AD48C63-78A6-4D64-B839-4870EFEB9C1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C41DDD8-606D-484E-848F-B1E104A491CE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3"/>
            </p:custDataLst>
          </p:nvPr>
        </p:nvSpPr>
        <p:spPr>
          <a:xfrm>
            <a:off x="6724036" y="4885343"/>
            <a:ext cx="1728839" cy="115416"/>
          </a:xfrm>
        </p:spPr>
        <p:txBody>
          <a:bodyPr/>
          <a:lstStyle>
            <a:lvl1pPr algn="r">
              <a:defRPr sz="750" b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Internal confidential  •  Copyright® 202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004765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9FCC3B"/>
          </p15:clr>
        </p15:guide>
        <p15:guide id="2" pos="3840">
          <p15:clr>
            <a:srgbClr val="9FCC3B"/>
          </p15:clr>
        </p15:guide>
        <p15:guide id="3" pos="279">
          <p15:clr>
            <a:srgbClr val="9FCC3B"/>
          </p15:clr>
        </p15:guide>
        <p15:guide id="4" pos="7401">
          <p15:clr>
            <a:srgbClr val="9FCC3B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Divider 1/4 |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D73D9DB-E088-4CA5-8CEB-1851726842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388654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2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D73D9DB-E088-4CA5-8CEB-1851726842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11">
            <a:extLst>
              <a:ext uri="{FF2B5EF4-FFF2-40B4-BE49-F238E27FC236}">
                <a16:creationId xmlns:a16="http://schemas.microsoft.com/office/drawing/2014/main" id="{14CB4920-B8FA-4C57-9B05-5332A7D6136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3500"/>
          </a:xfrm>
          <a:custGeom>
            <a:avLst/>
            <a:gdLst>
              <a:gd name="connsiteX0" fmla="*/ 11616773 w 12192000"/>
              <a:gd name="connsiteY0" fmla="*/ 766683 h 6858000"/>
              <a:gd name="connsiteX1" fmla="*/ 11606920 w 12192000"/>
              <a:gd name="connsiteY1" fmla="*/ 776535 h 6858000"/>
              <a:gd name="connsiteX2" fmla="*/ 11616773 w 12192000"/>
              <a:gd name="connsiteY2" fmla="*/ 786388 h 6858000"/>
              <a:gd name="connsiteX3" fmla="*/ 11626627 w 12192000"/>
              <a:gd name="connsiteY3" fmla="*/ 776535 h 6858000"/>
              <a:gd name="connsiteX4" fmla="*/ 11616773 w 12192000"/>
              <a:gd name="connsiteY4" fmla="*/ 766683 h 6858000"/>
              <a:gd name="connsiteX5" fmla="*/ 11435366 w 12192000"/>
              <a:gd name="connsiteY5" fmla="*/ 690142 h 6858000"/>
              <a:gd name="connsiteX6" fmla="*/ 11450674 w 12192000"/>
              <a:gd name="connsiteY6" fmla="*/ 692078 h 6858000"/>
              <a:gd name="connsiteX7" fmla="*/ 11452081 w 12192000"/>
              <a:gd name="connsiteY7" fmla="*/ 692078 h 6858000"/>
              <a:gd name="connsiteX8" fmla="*/ 11450674 w 12192000"/>
              <a:gd name="connsiteY8" fmla="*/ 693485 h 6858000"/>
              <a:gd name="connsiteX9" fmla="*/ 11430967 w 12192000"/>
              <a:gd name="connsiteY9" fmla="*/ 710377 h 6858000"/>
              <a:gd name="connsiteX10" fmla="*/ 11414075 w 12192000"/>
              <a:gd name="connsiteY10" fmla="*/ 714599 h 6858000"/>
              <a:gd name="connsiteX11" fmla="*/ 11399999 w 12192000"/>
              <a:gd name="connsiteY11" fmla="*/ 711785 h 6858000"/>
              <a:gd name="connsiteX12" fmla="*/ 11416891 w 12192000"/>
              <a:gd name="connsiteY12" fmla="*/ 697709 h 6858000"/>
              <a:gd name="connsiteX13" fmla="*/ 11435366 w 12192000"/>
              <a:gd name="connsiteY13" fmla="*/ 690142 h 6858000"/>
              <a:gd name="connsiteX14" fmla="*/ 11461934 w 12192000"/>
              <a:gd name="connsiteY14" fmla="*/ 609028 h 6858000"/>
              <a:gd name="connsiteX15" fmla="*/ 11474603 w 12192000"/>
              <a:gd name="connsiteY15" fmla="*/ 618881 h 6858000"/>
              <a:gd name="connsiteX16" fmla="*/ 11461934 w 12192000"/>
              <a:gd name="connsiteY16" fmla="*/ 628735 h 6858000"/>
              <a:gd name="connsiteX17" fmla="*/ 11449266 w 12192000"/>
              <a:gd name="connsiteY17" fmla="*/ 618881 h 6858000"/>
              <a:gd name="connsiteX18" fmla="*/ 11461934 w 12192000"/>
              <a:gd name="connsiteY18" fmla="*/ 609028 h 6858000"/>
              <a:gd name="connsiteX19" fmla="*/ 11508387 w 12192000"/>
              <a:gd name="connsiteY19" fmla="*/ 530201 h 6858000"/>
              <a:gd name="connsiteX20" fmla="*/ 11674486 w 12192000"/>
              <a:gd name="connsiteY20" fmla="*/ 606213 h 6858000"/>
              <a:gd name="connsiteX21" fmla="*/ 11678709 w 12192000"/>
              <a:gd name="connsiteY21" fmla="*/ 679408 h 6858000"/>
              <a:gd name="connsiteX22" fmla="*/ 11625219 w 12192000"/>
              <a:gd name="connsiteY22" fmla="*/ 676593 h 6858000"/>
              <a:gd name="connsiteX23" fmla="*/ 11629443 w 12192000"/>
              <a:gd name="connsiteY23" fmla="*/ 666741 h 6858000"/>
              <a:gd name="connsiteX24" fmla="*/ 11636480 w 12192000"/>
              <a:gd name="connsiteY24" fmla="*/ 665332 h 6858000"/>
              <a:gd name="connsiteX25" fmla="*/ 11637888 w 12192000"/>
              <a:gd name="connsiteY25" fmla="*/ 661110 h 6858000"/>
              <a:gd name="connsiteX26" fmla="*/ 11620997 w 12192000"/>
              <a:gd name="connsiteY26" fmla="*/ 655479 h 6858000"/>
              <a:gd name="connsiteX27" fmla="*/ 11599881 w 12192000"/>
              <a:gd name="connsiteY27" fmla="*/ 656888 h 6858000"/>
              <a:gd name="connsiteX28" fmla="*/ 11591435 w 12192000"/>
              <a:gd name="connsiteY28" fmla="*/ 654071 h 6858000"/>
              <a:gd name="connsiteX29" fmla="*/ 11588620 w 12192000"/>
              <a:gd name="connsiteY29" fmla="*/ 649849 h 6858000"/>
              <a:gd name="connsiteX30" fmla="*/ 11591435 w 12192000"/>
              <a:gd name="connsiteY30" fmla="*/ 641403 h 6858000"/>
              <a:gd name="connsiteX31" fmla="*/ 11599881 w 12192000"/>
              <a:gd name="connsiteY31" fmla="*/ 639996 h 6858000"/>
              <a:gd name="connsiteX32" fmla="*/ 11601290 w 12192000"/>
              <a:gd name="connsiteY32" fmla="*/ 635772 h 6858000"/>
              <a:gd name="connsiteX33" fmla="*/ 11584398 w 12192000"/>
              <a:gd name="connsiteY33" fmla="*/ 630142 h 6858000"/>
              <a:gd name="connsiteX34" fmla="*/ 11563284 w 12192000"/>
              <a:gd name="connsiteY34" fmla="*/ 631550 h 6858000"/>
              <a:gd name="connsiteX35" fmla="*/ 11554838 w 12192000"/>
              <a:gd name="connsiteY35" fmla="*/ 628735 h 6858000"/>
              <a:gd name="connsiteX36" fmla="*/ 11552023 w 12192000"/>
              <a:gd name="connsiteY36" fmla="*/ 624511 h 6858000"/>
              <a:gd name="connsiteX37" fmla="*/ 11554838 w 12192000"/>
              <a:gd name="connsiteY37" fmla="*/ 614659 h 6858000"/>
              <a:gd name="connsiteX38" fmla="*/ 11563284 w 12192000"/>
              <a:gd name="connsiteY38" fmla="*/ 613250 h 6858000"/>
              <a:gd name="connsiteX39" fmla="*/ 11564691 w 12192000"/>
              <a:gd name="connsiteY39" fmla="*/ 609028 h 6858000"/>
              <a:gd name="connsiteX40" fmla="*/ 11547799 w 12192000"/>
              <a:gd name="connsiteY40" fmla="*/ 603397 h 6858000"/>
              <a:gd name="connsiteX41" fmla="*/ 11526685 w 12192000"/>
              <a:gd name="connsiteY41" fmla="*/ 604804 h 6858000"/>
              <a:gd name="connsiteX42" fmla="*/ 11522463 w 12192000"/>
              <a:gd name="connsiteY42" fmla="*/ 603397 h 6858000"/>
              <a:gd name="connsiteX43" fmla="*/ 11521055 w 12192000"/>
              <a:gd name="connsiteY43" fmla="*/ 600582 h 6858000"/>
              <a:gd name="connsiteX44" fmla="*/ 11522463 w 12192000"/>
              <a:gd name="connsiteY44" fmla="*/ 593545 h 6858000"/>
              <a:gd name="connsiteX45" fmla="*/ 11523870 w 12192000"/>
              <a:gd name="connsiteY45" fmla="*/ 573836 h 6858000"/>
              <a:gd name="connsiteX46" fmla="*/ 11511200 w 12192000"/>
              <a:gd name="connsiteY46" fmla="*/ 551315 h 6858000"/>
              <a:gd name="connsiteX47" fmla="*/ 11506978 w 12192000"/>
              <a:gd name="connsiteY47" fmla="*/ 549907 h 6858000"/>
              <a:gd name="connsiteX48" fmla="*/ 11505571 w 12192000"/>
              <a:gd name="connsiteY48" fmla="*/ 555537 h 6858000"/>
              <a:gd name="connsiteX49" fmla="*/ 11480234 w 12192000"/>
              <a:gd name="connsiteY49" fmla="*/ 589321 h 6858000"/>
              <a:gd name="connsiteX50" fmla="*/ 11471788 w 12192000"/>
              <a:gd name="connsiteY50" fmla="*/ 589321 h 6858000"/>
              <a:gd name="connsiteX51" fmla="*/ 11466157 w 12192000"/>
              <a:gd name="connsiteY51" fmla="*/ 589321 h 6858000"/>
              <a:gd name="connsiteX52" fmla="*/ 11463342 w 12192000"/>
              <a:gd name="connsiteY52" fmla="*/ 589321 h 6858000"/>
              <a:gd name="connsiteX53" fmla="*/ 11457711 w 12192000"/>
              <a:gd name="connsiteY53" fmla="*/ 589321 h 6858000"/>
              <a:gd name="connsiteX54" fmla="*/ 11449266 w 12192000"/>
              <a:gd name="connsiteY54" fmla="*/ 590728 h 6858000"/>
              <a:gd name="connsiteX55" fmla="*/ 11429558 w 12192000"/>
              <a:gd name="connsiteY55" fmla="*/ 610435 h 6858000"/>
              <a:gd name="connsiteX56" fmla="*/ 11429558 w 12192000"/>
              <a:gd name="connsiteY56" fmla="*/ 613250 h 6858000"/>
              <a:gd name="connsiteX57" fmla="*/ 11426743 w 12192000"/>
              <a:gd name="connsiteY57" fmla="*/ 617474 h 6858000"/>
              <a:gd name="connsiteX58" fmla="*/ 11415482 w 12192000"/>
              <a:gd name="connsiteY58" fmla="*/ 618881 h 6858000"/>
              <a:gd name="connsiteX59" fmla="*/ 11373254 w 12192000"/>
              <a:gd name="connsiteY59" fmla="*/ 607619 h 6858000"/>
              <a:gd name="connsiteX60" fmla="*/ 11370439 w 12192000"/>
              <a:gd name="connsiteY60" fmla="*/ 606213 h 6858000"/>
              <a:gd name="connsiteX61" fmla="*/ 11369031 w 12192000"/>
              <a:gd name="connsiteY61" fmla="*/ 607619 h 6858000"/>
              <a:gd name="connsiteX62" fmla="*/ 11357769 w 12192000"/>
              <a:gd name="connsiteY62" fmla="*/ 637181 h 6858000"/>
              <a:gd name="connsiteX63" fmla="*/ 11377476 w 12192000"/>
              <a:gd name="connsiteY63" fmla="*/ 673778 h 6858000"/>
              <a:gd name="connsiteX64" fmla="*/ 11384514 w 12192000"/>
              <a:gd name="connsiteY64" fmla="*/ 678002 h 6858000"/>
              <a:gd name="connsiteX65" fmla="*/ 11384514 w 12192000"/>
              <a:gd name="connsiteY65" fmla="*/ 675186 h 6858000"/>
              <a:gd name="connsiteX66" fmla="*/ 11387331 w 12192000"/>
              <a:gd name="connsiteY66" fmla="*/ 665332 h 6858000"/>
              <a:gd name="connsiteX67" fmla="*/ 11405629 w 12192000"/>
              <a:gd name="connsiteY67" fmla="*/ 661110 h 6858000"/>
              <a:gd name="connsiteX68" fmla="*/ 11407036 w 12192000"/>
              <a:gd name="connsiteY68" fmla="*/ 662517 h 6858000"/>
              <a:gd name="connsiteX69" fmla="*/ 11419706 w 12192000"/>
              <a:gd name="connsiteY69" fmla="*/ 666741 h 6858000"/>
              <a:gd name="connsiteX70" fmla="*/ 11432374 w 12192000"/>
              <a:gd name="connsiteY70" fmla="*/ 662517 h 6858000"/>
              <a:gd name="connsiteX71" fmla="*/ 11450674 w 12192000"/>
              <a:gd name="connsiteY71" fmla="*/ 662517 h 6858000"/>
              <a:gd name="connsiteX72" fmla="*/ 11453489 w 12192000"/>
              <a:gd name="connsiteY72" fmla="*/ 678002 h 6858000"/>
              <a:gd name="connsiteX73" fmla="*/ 11453489 w 12192000"/>
              <a:gd name="connsiteY73" fmla="*/ 679408 h 6858000"/>
              <a:gd name="connsiteX74" fmla="*/ 11452081 w 12192000"/>
              <a:gd name="connsiteY74" fmla="*/ 679408 h 6858000"/>
              <a:gd name="connsiteX75" fmla="*/ 11418297 w 12192000"/>
              <a:gd name="connsiteY75" fmla="*/ 676593 h 6858000"/>
              <a:gd name="connsiteX76" fmla="*/ 11398590 w 12192000"/>
              <a:gd name="connsiteY76" fmla="*/ 685039 h 6858000"/>
              <a:gd name="connsiteX77" fmla="*/ 11364808 w 12192000"/>
              <a:gd name="connsiteY77" fmla="*/ 692078 h 6858000"/>
              <a:gd name="connsiteX78" fmla="*/ 11343693 w 12192000"/>
              <a:gd name="connsiteY78" fmla="*/ 672371 h 6858000"/>
              <a:gd name="connsiteX79" fmla="*/ 11342286 w 12192000"/>
              <a:gd name="connsiteY79" fmla="*/ 669556 h 6858000"/>
              <a:gd name="connsiteX80" fmla="*/ 11340878 w 12192000"/>
              <a:gd name="connsiteY80" fmla="*/ 673778 h 6858000"/>
              <a:gd name="connsiteX81" fmla="*/ 11349323 w 12192000"/>
              <a:gd name="connsiteY81" fmla="*/ 707561 h 6858000"/>
              <a:gd name="connsiteX82" fmla="*/ 11390146 w 12192000"/>
              <a:gd name="connsiteY82" fmla="*/ 713192 h 6858000"/>
              <a:gd name="connsiteX83" fmla="*/ 11391553 w 12192000"/>
              <a:gd name="connsiteY83" fmla="*/ 711785 h 6858000"/>
              <a:gd name="connsiteX84" fmla="*/ 11391553 w 12192000"/>
              <a:gd name="connsiteY84" fmla="*/ 713192 h 6858000"/>
              <a:gd name="connsiteX85" fmla="*/ 11395775 w 12192000"/>
              <a:gd name="connsiteY85" fmla="*/ 727269 h 6858000"/>
              <a:gd name="connsiteX86" fmla="*/ 11414075 w 12192000"/>
              <a:gd name="connsiteY86" fmla="*/ 739936 h 6858000"/>
              <a:gd name="connsiteX87" fmla="*/ 11436598 w 12192000"/>
              <a:gd name="connsiteY87" fmla="*/ 730084 h 6858000"/>
              <a:gd name="connsiteX88" fmla="*/ 11484456 w 12192000"/>
              <a:gd name="connsiteY88" fmla="*/ 713192 h 6858000"/>
              <a:gd name="connsiteX89" fmla="*/ 11552023 w 12192000"/>
              <a:gd name="connsiteY89" fmla="*/ 786388 h 6858000"/>
              <a:gd name="connsiteX90" fmla="*/ 11557654 w 12192000"/>
              <a:gd name="connsiteY90" fmla="*/ 796242 h 6858000"/>
              <a:gd name="connsiteX91" fmla="*/ 11557654 w 12192000"/>
              <a:gd name="connsiteY91" fmla="*/ 797649 h 6858000"/>
              <a:gd name="connsiteX92" fmla="*/ 11563284 w 12192000"/>
              <a:gd name="connsiteY92" fmla="*/ 801873 h 6858000"/>
              <a:gd name="connsiteX93" fmla="*/ 11566099 w 12192000"/>
              <a:gd name="connsiteY93" fmla="*/ 797649 h 6858000"/>
              <a:gd name="connsiteX94" fmla="*/ 11595659 w 12192000"/>
              <a:gd name="connsiteY94" fmla="*/ 758237 h 6858000"/>
              <a:gd name="connsiteX95" fmla="*/ 11622404 w 12192000"/>
              <a:gd name="connsiteY95" fmla="*/ 754013 h 6858000"/>
              <a:gd name="connsiteX96" fmla="*/ 11625219 w 12192000"/>
              <a:gd name="connsiteY96" fmla="*/ 754013 h 6858000"/>
              <a:gd name="connsiteX97" fmla="*/ 11650556 w 12192000"/>
              <a:gd name="connsiteY97" fmla="*/ 744160 h 6858000"/>
              <a:gd name="connsiteX98" fmla="*/ 11718122 w 12192000"/>
              <a:gd name="connsiteY98" fmla="*/ 718823 h 6858000"/>
              <a:gd name="connsiteX99" fmla="*/ 11727976 w 12192000"/>
              <a:gd name="connsiteY99" fmla="*/ 721638 h 6858000"/>
              <a:gd name="connsiteX100" fmla="*/ 11725161 w 12192000"/>
              <a:gd name="connsiteY100" fmla="*/ 728675 h 6858000"/>
              <a:gd name="connsiteX101" fmla="*/ 11720939 w 12192000"/>
              <a:gd name="connsiteY101" fmla="*/ 730084 h 6858000"/>
              <a:gd name="connsiteX102" fmla="*/ 11639295 w 12192000"/>
              <a:gd name="connsiteY102" fmla="*/ 789205 h 6858000"/>
              <a:gd name="connsiteX103" fmla="*/ 11636480 w 12192000"/>
              <a:gd name="connsiteY103" fmla="*/ 810319 h 6858000"/>
              <a:gd name="connsiteX104" fmla="*/ 11636480 w 12192000"/>
              <a:gd name="connsiteY104" fmla="*/ 820172 h 6858000"/>
              <a:gd name="connsiteX105" fmla="*/ 11609736 w 12192000"/>
              <a:gd name="connsiteY105" fmla="*/ 886330 h 6858000"/>
              <a:gd name="connsiteX106" fmla="*/ 11582989 w 12192000"/>
              <a:gd name="connsiteY106" fmla="*/ 908852 h 6858000"/>
              <a:gd name="connsiteX107" fmla="*/ 11577361 w 12192000"/>
              <a:gd name="connsiteY107" fmla="*/ 914483 h 6858000"/>
              <a:gd name="connsiteX108" fmla="*/ 11571730 w 12192000"/>
              <a:gd name="connsiteY108" fmla="*/ 921520 h 6858000"/>
              <a:gd name="connsiteX109" fmla="*/ 11544984 w 12192000"/>
              <a:gd name="connsiteY109" fmla="*/ 951082 h 6858000"/>
              <a:gd name="connsiteX110" fmla="*/ 11518239 w 12192000"/>
              <a:gd name="connsiteY110" fmla="*/ 969380 h 6858000"/>
              <a:gd name="connsiteX111" fmla="*/ 11516833 w 12192000"/>
              <a:gd name="connsiteY111" fmla="*/ 969380 h 6858000"/>
              <a:gd name="connsiteX112" fmla="*/ 11515424 w 12192000"/>
              <a:gd name="connsiteY112" fmla="*/ 967974 h 6858000"/>
              <a:gd name="connsiteX113" fmla="*/ 11529501 w 12192000"/>
              <a:gd name="connsiteY113" fmla="*/ 946858 h 6858000"/>
              <a:gd name="connsiteX114" fmla="*/ 11543577 w 12192000"/>
              <a:gd name="connsiteY114" fmla="*/ 927151 h 6858000"/>
              <a:gd name="connsiteX115" fmla="*/ 11529501 w 12192000"/>
              <a:gd name="connsiteY115" fmla="*/ 932781 h 6858000"/>
              <a:gd name="connsiteX116" fmla="*/ 11515424 w 12192000"/>
              <a:gd name="connsiteY116" fmla="*/ 939821 h 6858000"/>
              <a:gd name="connsiteX117" fmla="*/ 11447857 w 12192000"/>
              <a:gd name="connsiteY117" fmla="*/ 958119 h 6858000"/>
              <a:gd name="connsiteX118" fmla="*/ 11447857 w 12192000"/>
              <a:gd name="connsiteY118" fmla="*/ 955304 h 6858000"/>
              <a:gd name="connsiteX119" fmla="*/ 11467564 w 12192000"/>
              <a:gd name="connsiteY119" fmla="*/ 942636 h 6858000"/>
              <a:gd name="connsiteX120" fmla="*/ 11528092 w 12192000"/>
              <a:gd name="connsiteY120" fmla="*/ 893369 h 6858000"/>
              <a:gd name="connsiteX121" fmla="*/ 11491495 w 12192000"/>
              <a:gd name="connsiteY121" fmla="*/ 866623 h 6858000"/>
              <a:gd name="connsiteX122" fmla="*/ 11430967 w 12192000"/>
              <a:gd name="connsiteY122" fmla="*/ 801873 h 6858000"/>
              <a:gd name="connsiteX123" fmla="*/ 11316948 w 12192000"/>
              <a:gd name="connsiteY123" fmla="*/ 856770 h 6858000"/>
              <a:gd name="connsiteX124" fmla="*/ 11288796 w 12192000"/>
              <a:gd name="connsiteY124" fmla="*/ 749791 h 6858000"/>
              <a:gd name="connsiteX125" fmla="*/ 11508387 w 12192000"/>
              <a:gd name="connsiteY125" fmla="*/ 530201 h 6858000"/>
              <a:gd name="connsiteX126" fmla="*/ 11509794 w 12192000"/>
              <a:gd name="connsiteY126" fmla="*/ 511901 h 6858000"/>
              <a:gd name="connsiteX127" fmla="*/ 11270497 w 12192000"/>
              <a:gd name="connsiteY127" fmla="*/ 751198 h 6858000"/>
              <a:gd name="connsiteX128" fmla="*/ 11509794 w 12192000"/>
              <a:gd name="connsiteY128" fmla="*/ 990494 h 6858000"/>
              <a:gd name="connsiteX129" fmla="*/ 11749090 w 12192000"/>
              <a:gd name="connsiteY129" fmla="*/ 751198 h 6858000"/>
              <a:gd name="connsiteX130" fmla="*/ 11509794 w 12192000"/>
              <a:gd name="connsiteY130" fmla="*/ 511901 h 6858000"/>
              <a:gd name="connsiteX131" fmla="*/ 0 w 12192000"/>
              <a:gd name="connsiteY131" fmla="*/ 0 h 6858000"/>
              <a:gd name="connsiteX132" fmla="*/ 12192000 w 12192000"/>
              <a:gd name="connsiteY132" fmla="*/ 0 h 6858000"/>
              <a:gd name="connsiteX133" fmla="*/ 12192000 w 12192000"/>
              <a:gd name="connsiteY133" fmla="*/ 6858000 h 6858000"/>
              <a:gd name="connsiteX134" fmla="*/ 0 w 12192000"/>
              <a:gd name="connsiteY13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</a:cxnLst>
            <a:rect l="l" t="t" r="r" b="b"/>
            <a:pathLst>
              <a:path w="12192000" h="6858000">
                <a:moveTo>
                  <a:pt x="11616773" y="766683"/>
                </a:moveTo>
                <a:cubicBezTo>
                  <a:pt x="11611142" y="766683"/>
                  <a:pt x="11606920" y="770905"/>
                  <a:pt x="11606920" y="776535"/>
                </a:cubicBezTo>
                <a:cubicBezTo>
                  <a:pt x="11606920" y="782166"/>
                  <a:pt x="11611142" y="786388"/>
                  <a:pt x="11616773" y="786388"/>
                </a:cubicBezTo>
                <a:cubicBezTo>
                  <a:pt x="11622404" y="784981"/>
                  <a:pt x="11626627" y="780759"/>
                  <a:pt x="11626627" y="776535"/>
                </a:cubicBezTo>
                <a:cubicBezTo>
                  <a:pt x="11626627" y="770905"/>
                  <a:pt x="11622404" y="766683"/>
                  <a:pt x="11616773" y="766683"/>
                </a:cubicBezTo>
                <a:close/>
                <a:moveTo>
                  <a:pt x="11435366" y="690142"/>
                </a:moveTo>
                <a:cubicBezTo>
                  <a:pt x="11440820" y="689262"/>
                  <a:pt x="11445747" y="689966"/>
                  <a:pt x="11450674" y="692078"/>
                </a:cubicBezTo>
                <a:lnTo>
                  <a:pt x="11452081" y="692078"/>
                </a:lnTo>
                <a:cubicBezTo>
                  <a:pt x="11452081" y="692078"/>
                  <a:pt x="11452081" y="693485"/>
                  <a:pt x="11450674" y="693485"/>
                </a:cubicBezTo>
                <a:cubicBezTo>
                  <a:pt x="11447857" y="699116"/>
                  <a:pt x="11442228" y="706155"/>
                  <a:pt x="11430967" y="710377"/>
                </a:cubicBezTo>
                <a:cubicBezTo>
                  <a:pt x="11423928" y="713192"/>
                  <a:pt x="11419706" y="714599"/>
                  <a:pt x="11414075" y="714599"/>
                </a:cubicBezTo>
                <a:cubicBezTo>
                  <a:pt x="11407036" y="714599"/>
                  <a:pt x="11401406" y="713192"/>
                  <a:pt x="11399999" y="711785"/>
                </a:cubicBezTo>
                <a:cubicBezTo>
                  <a:pt x="11399999" y="711785"/>
                  <a:pt x="11407036" y="704746"/>
                  <a:pt x="11416891" y="697709"/>
                </a:cubicBezTo>
                <a:cubicBezTo>
                  <a:pt x="11423929" y="693486"/>
                  <a:pt x="11429911" y="691022"/>
                  <a:pt x="11435366" y="690142"/>
                </a:cubicBezTo>
                <a:close/>
                <a:moveTo>
                  <a:pt x="11461934" y="609028"/>
                </a:moveTo>
                <a:cubicBezTo>
                  <a:pt x="11468973" y="609028"/>
                  <a:pt x="11474603" y="613250"/>
                  <a:pt x="11474603" y="618881"/>
                </a:cubicBezTo>
                <a:cubicBezTo>
                  <a:pt x="11474603" y="624511"/>
                  <a:pt x="11468973" y="628735"/>
                  <a:pt x="11461934" y="628735"/>
                </a:cubicBezTo>
                <a:cubicBezTo>
                  <a:pt x="11454896" y="628735"/>
                  <a:pt x="11449266" y="624511"/>
                  <a:pt x="11449266" y="618881"/>
                </a:cubicBezTo>
                <a:cubicBezTo>
                  <a:pt x="11449266" y="613250"/>
                  <a:pt x="11454896" y="609028"/>
                  <a:pt x="11461934" y="609028"/>
                </a:cubicBezTo>
                <a:close/>
                <a:moveTo>
                  <a:pt x="11508387" y="530201"/>
                </a:moveTo>
                <a:cubicBezTo>
                  <a:pt x="11574544" y="530201"/>
                  <a:pt x="11633665" y="559761"/>
                  <a:pt x="11674486" y="606213"/>
                </a:cubicBezTo>
                <a:cubicBezTo>
                  <a:pt x="11699823" y="638588"/>
                  <a:pt x="11695601" y="665332"/>
                  <a:pt x="11678709" y="679408"/>
                </a:cubicBezTo>
                <a:cubicBezTo>
                  <a:pt x="11657596" y="694893"/>
                  <a:pt x="11629443" y="689263"/>
                  <a:pt x="11625219" y="676593"/>
                </a:cubicBezTo>
                <a:cubicBezTo>
                  <a:pt x="11623812" y="669556"/>
                  <a:pt x="11629443" y="666741"/>
                  <a:pt x="11629443" y="666741"/>
                </a:cubicBezTo>
                <a:cubicBezTo>
                  <a:pt x="11630849" y="665332"/>
                  <a:pt x="11633665" y="665332"/>
                  <a:pt x="11636480" y="665332"/>
                </a:cubicBezTo>
                <a:cubicBezTo>
                  <a:pt x="11640704" y="665332"/>
                  <a:pt x="11640704" y="662517"/>
                  <a:pt x="11637888" y="661110"/>
                </a:cubicBezTo>
                <a:cubicBezTo>
                  <a:pt x="11633665" y="658295"/>
                  <a:pt x="11626627" y="655479"/>
                  <a:pt x="11620997" y="655479"/>
                </a:cubicBezTo>
                <a:cubicBezTo>
                  <a:pt x="11612551" y="655479"/>
                  <a:pt x="11599881" y="656888"/>
                  <a:pt x="11599881" y="656888"/>
                </a:cubicBezTo>
                <a:cubicBezTo>
                  <a:pt x="11597066" y="656888"/>
                  <a:pt x="11594252" y="655479"/>
                  <a:pt x="11591435" y="654071"/>
                </a:cubicBezTo>
                <a:cubicBezTo>
                  <a:pt x="11590028" y="652664"/>
                  <a:pt x="11588620" y="651256"/>
                  <a:pt x="11588620" y="649849"/>
                </a:cubicBezTo>
                <a:cubicBezTo>
                  <a:pt x="11587213" y="642811"/>
                  <a:pt x="11591435" y="641403"/>
                  <a:pt x="11591435" y="641403"/>
                </a:cubicBezTo>
                <a:cubicBezTo>
                  <a:pt x="11592844" y="639996"/>
                  <a:pt x="11597066" y="638588"/>
                  <a:pt x="11599881" y="639996"/>
                </a:cubicBezTo>
                <a:cubicBezTo>
                  <a:pt x="11604105" y="639996"/>
                  <a:pt x="11604105" y="637181"/>
                  <a:pt x="11601290" y="635772"/>
                </a:cubicBezTo>
                <a:cubicBezTo>
                  <a:pt x="11597066" y="632957"/>
                  <a:pt x="11590028" y="630142"/>
                  <a:pt x="11584398" y="630142"/>
                </a:cubicBezTo>
                <a:cubicBezTo>
                  <a:pt x="11575952" y="630142"/>
                  <a:pt x="11563284" y="631550"/>
                  <a:pt x="11563284" y="631550"/>
                </a:cubicBezTo>
                <a:cubicBezTo>
                  <a:pt x="11560469" y="631550"/>
                  <a:pt x="11557654" y="630142"/>
                  <a:pt x="11554838" y="628735"/>
                </a:cubicBezTo>
                <a:cubicBezTo>
                  <a:pt x="11553430" y="627326"/>
                  <a:pt x="11552023" y="625920"/>
                  <a:pt x="11552023" y="624511"/>
                </a:cubicBezTo>
                <a:cubicBezTo>
                  <a:pt x="11550614" y="617474"/>
                  <a:pt x="11554838" y="614659"/>
                  <a:pt x="11554838" y="614659"/>
                </a:cubicBezTo>
                <a:cubicBezTo>
                  <a:pt x="11556245" y="613250"/>
                  <a:pt x="11559060" y="611843"/>
                  <a:pt x="11563284" y="613250"/>
                </a:cubicBezTo>
                <a:cubicBezTo>
                  <a:pt x="11567506" y="613250"/>
                  <a:pt x="11567506" y="610435"/>
                  <a:pt x="11564691" y="609028"/>
                </a:cubicBezTo>
                <a:cubicBezTo>
                  <a:pt x="11560469" y="606213"/>
                  <a:pt x="11553430" y="603397"/>
                  <a:pt x="11547799" y="603397"/>
                </a:cubicBezTo>
                <a:cubicBezTo>
                  <a:pt x="11539353" y="603397"/>
                  <a:pt x="11526685" y="604804"/>
                  <a:pt x="11526685" y="604804"/>
                </a:cubicBezTo>
                <a:cubicBezTo>
                  <a:pt x="11525277" y="604804"/>
                  <a:pt x="11522463" y="604804"/>
                  <a:pt x="11522463" y="603397"/>
                </a:cubicBezTo>
                <a:cubicBezTo>
                  <a:pt x="11521055" y="601989"/>
                  <a:pt x="11521055" y="601989"/>
                  <a:pt x="11521055" y="600582"/>
                </a:cubicBezTo>
                <a:cubicBezTo>
                  <a:pt x="11521055" y="599174"/>
                  <a:pt x="11521055" y="596358"/>
                  <a:pt x="11522463" y="593545"/>
                </a:cubicBezTo>
                <a:cubicBezTo>
                  <a:pt x="11523870" y="587912"/>
                  <a:pt x="11525277" y="582282"/>
                  <a:pt x="11523870" y="573836"/>
                </a:cubicBezTo>
                <a:cubicBezTo>
                  <a:pt x="11522463" y="558353"/>
                  <a:pt x="11514017" y="552722"/>
                  <a:pt x="11511200" y="551315"/>
                </a:cubicBezTo>
                <a:cubicBezTo>
                  <a:pt x="11508387" y="549907"/>
                  <a:pt x="11506978" y="549907"/>
                  <a:pt x="11506978" y="549907"/>
                </a:cubicBezTo>
                <a:cubicBezTo>
                  <a:pt x="11506978" y="549907"/>
                  <a:pt x="11505571" y="552722"/>
                  <a:pt x="11505571" y="555537"/>
                </a:cubicBezTo>
                <a:cubicBezTo>
                  <a:pt x="11504163" y="566799"/>
                  <a:pt x="11502756" y="589321"/>
                  <a:pt x="11480234" y="589321"/>
                </a:cubicBezTo>
                <a:cubicBezTo>
                  <a:pt x="11477418" y="589321"/>
                  <a:pt x="11474603" y="589321"/>
                  <a:pt x="11471788" y="589321"/>
                </a:cubicBezTo>
                <a:cubicBezTo>
                  <a:pt x="11470379" y="589321"/>
                  <a:pt x="11467564" y="589321"/>
                  <a:pt x="11466157" y="589321"/>
                </a:cubicBezTo>
                <a:cubicBezTo>
                  <a:pt x="11464749" y="589321"/>
                  <a:pt x="11464749" y="589321"/>
                  <a:pt x="11463342" y="589321"/>
                </a:cubicBezTo>
                <a:cubicBezTo>
                  <a:pt x="11461934" y="589321"/>
                  <a:pt x="11459120" y="589321"/>
                  <a:pt x="11457711" y="589321"/>
                </a:cubicBezTo>
                <a:cubicBezTo>
                  <a:pt x="11454896" y="589321"/>
                  <a:pt x="11452081" y="589321"/>
                  <a:pt x="11449266" y="590728"/>
                </a:cubicBezTo>
                <a:cubicBezTo>
                  <a:pt x="11438004" y="593545"/>
                  <a:pt x="11430967" y="600582"/>
                  <a:pt x="11429558" y="610435"/>
                </a:cubicBezTo>
                <a:cubicBezTo>
                  <a:pt x="11429558" y="611843"/>
                  <a:pt x="11429558" y="611843"/>
                  <a:pt x="11429558" y="613250"/>
                </a:cubicBezTo>
                <a:cubicBezTo>
                  <a:pt x="11429558" y="614659"/>
                  <a:pt x="11429558" y="617474"/>
                  <a:pt x="11426743" y="617474"/>
                </a:cubicBezTo>
                <a:cubicBezTo>
                  <a:pt x="11426743" y="617474"/>
                  <a:pt x="11422521" y="618881"/>
                  <a:pt x="11415482" y="618881"/>
                </a:cubicBezTo>
                <a:cubicBezTo>
                  <a:pt x="11390146" y="621696"/>
                  <a:pt x="11380292" y="611843"/>
                  <a:pt x="11373254" y="607619"/>
                </a:cubicBezTo>
                <a:cubicBezTo>
                  <a:pt x="11371846" y="607619"/>
                  <a:pt x="11370439" y="606213"/>
                  <a:pt x="11370439" y="606213"/>
                </a:cubicBezTo>
                <a:cubicBezTo>
                  <a:pt x="11370439" y="606213"/>
                  <a:pt x="11370439" y="606213"/>
                  <a:pt x="11369031" y="607619"/>
                </a:cubicBezTo>
                <a:cubicBezTo>
                  <a:pt x="11364808" y="611843"/>
                  <a:pt x="11357769" y="624511"/>
                  <a:pt x="11357769" y="637181"/>
                </a:cubicBezTo>
                <a:cubicBezTo>
                  <a:pt x="11359178" y="658295"/>
                  <a:pt x="11373254" y="670963"/>
                  <a:pt x="11377476" y="673778"/>
                </a:cubicBezTo>
                <a:cubicBezTo>
                  <a:pt x="11381700" y="676593"/>
                  <a:pt x="11384514" y="678002"/>
                  <a:pt x="11384514" y="678002"/>
                </a:cubicBezTo>
                <a:cubicBezTo>
                  <a:pt x="11384514" y="678002"/>
                  <a:pt x="11384514" y="676593"/>
                  <a:pt x="11384514" y="675186"/>
                </a:cubicBezTo>
                <a:cubicBezTo>
                  <a:pt x="11384514" y="672371"/>
                  <a:pt x="11384514" y="669556"/>
                  <a:pt x="11387331" y="665332"/>
                </a:cubicBezTo>
                <a:cubicBezTo>
                  <a:pt x="11392960" y="655479"/>
                  <a:pt x="11401406" y="659701"/>
                  <a:pt x="11405629" y="661110"/>
                </a:cubicBezTo>
                <a:cubicBezTo>
                  <a:pt x="11407036" y="661110"/>
                  <a:pt x="11407036" y="661110"/>
                  <a:pt x="11407036" y="662517"/>
                </a:cubicBezTo>
                <a:cubicBezTo>
                  <a:pt x="11411260" y="663925"/>
                  <a:pt x="11415482" y="666741"/>
                  <a:pt x="11419706" y="666741"/>
                </a:cubicBezTo>
                <a:cubicBezTo>
                  <a:pt x="11423928" y="666741"/>
                  <a:pt x="11429558" y="663925"/>
                  <a:pt x="11432374" y="662517"/>
                </a:cubicBezTo>
                <a:cubicBezTo>
                  <a:pt x="11439413" y="659701"/>
                  <a:pt x="11446450" y="658295"/>
                  <a:pt x="11450674" y="662517"/>
                </a:cubicBezTo>
                <a:cubicBezTo>
                  <a:pt x="11454896" y="666741"/>
                  <a:pt x="11453489" y="676593"/>
                  <a:pt x="11453489" y="678002"/>
                </a:cubicBezTo>
                <a:lnTo>
                  <a:pt x="11453489" y="679408"/>
                </a:lnTo>
                <a:lnTo>
                  <a:pt x="11452081" y="679408"/>
                </a:lnTo>
                <a:cubicBezTo>
                  <a:pt x="11436598" y="673778"/>
                  <a:pt x="11430967" y="675186"/>
                  <a:pt x="11418297" y="676593"/>
                </a:cubicBezTo>
                <a:cubicBezTo>
                  <a:pt x="11411260" y="678002"/>
                  <a:pt x="11404221" y="682224"/>
                  <a:pt x="11398590" y="685039"/>
                </a:cubicBezTo>
                <a:cubicBezTo>
                  <a:pt x="11385922" y="692078"/>
                  <a:pt x="11380292" y="697709"/>
                  <a:pt x="11364808" y="692078"/>
                </a:cubicBezTo>
                <a:cubicBezTo>
                  <a:pt x="11350732" y="686448"/>
                  <a:pt x="11346508" y="678002"/>
                  <a:pt x="11343693" y="672371"/>
                </a:cubicBezTo>
                <a:cubicBezTo>
                  <a:pt x="11342286" y="670963"/>
                  <a:pt x="11342286" y="669556"/>
                  <a:pt x="11342286" y="669556"/>
                </a:cubicBezTo>
                <a:cubicBezTo>
                  <a:pt x="11342286" y="669556"/>
                  <a:pt x="11340878" y="670963"/>
                  <a:pt x="11340878" y="673778"/>
                </a:cubicBezTo>
                <a:cubicBezTo>
                  <a:pt x="11338062" y="680817"/>
                  <a:pt x="11338062" y="694893"/>
                  <a:pt x="11349323" y="707561"/>
                </a:cubicBezTo>
                <a:cubicBezTo>
                  <a:pt x="11364808" y="725860"/>
                  <a:pt x="11380292" y="718823"/>
                  <a:pt x="11390146" y="713192"/>
                </a:cubicBezTo>
                <a:lnTo>
                  <a:pt x="11391553" y="711785"/>
                </a:lnTo>
                <a:lnTo>
                  <a:pt x="11391553" y="713192"/>
                </a:lnTo>
                <a:cubicBezTo>
                  <a:pt x="11391553" y="716007"/>
                  <a:pt x="11392960" y="721638"/>
                  <a:pt x="11395775" y="727269"/>
                </a:cubicBezTo>
                <a:cubicBezTo>
                  <a:pt x="11398590" y="732899"/>
                  <a:pt x="11405629" y="739936"/>
                  <a:pt x="11414075" y="739936"/>
                </a:cubicBezTo>
                <a:cubicBezTo>
                  <a:pt x="11419706" y="739936"/>
                  <a:pt x="11428152" y="735714"/>
                  <a:pt x="11436598" y="730084"/>
                </a:cubicBezTo>
                <a:cubicBezTo>
                  <a:pt x="11452081" y="721638"/>
                  <a:pt x="11464749" y="710377"/>
                  <a:pt x="11484456" y="713192"/>
                </a:cubicBezTo>
                <a:cubicBezTo>
                  <a:pt x="11515424" y="718823"/>
                  <a:pt x="11540762" y="765274"/>
                  <a:pt x="11552023" y="786388"/>
                </a:cubicBezTo>
                <a:cubicBezTo>
                  <a:pt x="11554838" y="790612"/>
                  <a:pt x="11556245" y="794834"/>
                  <a:pt x="11557654" y="796242"/>
                </a:cubicBezTo>
                <a:cubicBezTo>
                  <a:pt x="11557654" y="796242"/>
                  <a:pt x="11557654" y="796242"/>
                  <a:pt x="11557654" y="797649"/>
                </a:cubicBezTo>
                <a:cubicBezTo>
                  <a:pt x="11559060" y="799058"/>
                  <a:pt x="11561876" y="803280"/>
                  <a:pt x="11563284" y="801873"/>
                </a:cubicBezTo>
                <a:cubicBezTo>
                  <a:pt x="11566099" y="800464"/>
                  <a:pt x="11566099" y="797649"/>
                  <a:pt x="11566099" y="797649"/>
                </a:cubicBezTo>
                <a:cubicBezTo>
                  <a:pt x="11568915" y="772313"/>
                  <a:pt x="11585806" y="762459"/>
                  <a:pt x="11595659" y="758237"/>
                </a:cubicBezTo>
                <a:cubicBezTo>
                  <a:pt x="11605512" y="754013"/>
                  <a:pt x="11615366" y="754013"/>
                  <a:pt x="11622404" y="754013"/>
                </a:cubicBezTo>
                <a:cubicBezTo>
                  <a:pt x="11623812" y="754013"/>
                  <a:pt x="11623812" y="754013"/>
                  <a:pt x="11625219" y="754013"/>
                </a:cubicBezTo>
                <a:cubicBezTo>
                  <a:pt x="11630849" y="754013"/>
                  <a:pt x="11639295" y="749791"/>
                  <a:pt x="11650556" y="744160"/>
                </a:cubicBezTo>
                <a:cubicBezTo>
                  <a:pt x="11667448" y="735714"/>
                  <a:pt x="11689971" y="724453"/>
                  <a:pt x="11718122" y="718823"/>
                </a:cubicBezTo>
                <a:cubicBezTo>
                  <a:pt x="11725161" y="717414"/>
                  <a:pt x="11727976" y="718823"/>
                  <a:pt x="11727976" y="721638"/>
                </a:cubicBezTo>
                <a:cubicBezTo>
                  <a:pt x="11727976" y="723045"/>
                  <a:pt x="11727976" y="727269"/>
                  <a:pt x="11725161" y="728675"/>
                </a:cubicBezTo>
                <a:lnTo>
                  <a:pt x="11720939" y="730084"/>
                </a:lnTo>
                <a:cubicBezTo>
                  <a:pt x="11692786" y="742752"/>
                  <a:pt x="11649150" y="758237"/>
                  <a:pt x="11639295" y="789205"/>
                </a:cubicBezTo>
                <a:cubicBezTo>
                  <a:pt x="11636480" y="794834"/>
                  <a:pt x="11636480" y="801873"/>
                  <a:pt x="11636480" y="810319"/>
                </a:cubicBezTo>
                <a:cubicBezTo>
                  <a:pt x="11636480" y="813134"/>
                  <a:pt x="11636480" y="815949"/>
                  <a:pt x="11636480" y="820172"/>
                </a:cubicBezTo>
                <a:cubicBezTo>
                  <a:pt x="11636480" y="855362"/>
                  <a:pt x="11619588" y="876477"/>
                  <a:pt x="11609736" y="886330"/>
                </a:cubicBezTo>
                <a:cubicBezTo>
                  <a:pt x="11599881" y="896184"/>
                  <a:pt x="11590028" y="904628"/>
                  <a:pt x="11582989" y="908852"/>
                </a:cubicBezTo>
                <a:cubicBezTo>
                  <a:pt x="11580176" y="911668"/>
                  <a:pt x="11577361" y="913074"/>
                  <a:pt x="11577361" y="914483"/>
                </a:cubicBezTo>
                <a:cubicBezTo>
                  <a:pt x="11577361" y="914483"/>
                  <a:pt x="11574544" y="917298"/>
                  <a:pt x="11571730" y="921520"/>
                </a:cubicBezTo>
                <a:cubicBezTo>
                  <a:pt x="11564691" y="929966"/>
                  <a:pt x="11554838" y="942636"/>
                  <a:pt x="11544984" y="951082"/>
                </a:cubicBezTo>
                <a:cubicBezTo>
                  <a:pt x="11535131" y="960934"/>
                  <a:pt x="11522463" y="969380"/>
                  <a:pt x="11518239" y="969380"/>
                </a:cubicBezTo>
                <a:cubicBezTo>
                  <a:pt x="11516833" y="969380"/>
                  <a:pt x="11516833" y="969380"/>
                  <a:pt x="11516833" y="969380"/>
                </a:cubicBezTo>
                <a:cubicBezTo>
                  <a:pt x="11516833" y="969380"/>
                  <a:pt x="11515424" y="967974"/>
                  <a:pt x="11515424" y="967974"/>
                </a:cubicBezTo>
                <a:cubicBezTo>
                  <a:pt x="11515424" y="965158"/>
                  <a:pt x="11521055" y="958119"/>
                  <a:pt x="11529501" y="946858"/>
                </a:cubicBezTo>
                <a:cubicBezTo>
                  <a:pt x="11539353" y="935597"/>
                  <a:pt x="11543577" y="928559"/>
                  <a:pt x="11543577" y="927151"/>
                </a:cubicBezTo>
                <a:cubicBezTo>
                  <a:pt x="11542168" y="927151"/>
                  <a:pt x="11536538" y="929966"/>
                  <a:pt x="11529501" y="932781"/>
                </a:cubicBezTo>
                <a:cubicBezTo>
                  <a:pt x="11525277" y="934190"/>
                  <a:pt x="11521055" y="937005"/>
                  <a:pt x="11515424" y="939821"/>
                </a:cubicBezTo>
                <a:cubicBezTo>
                  <a:pt x="11495717" y="949673"/>
                  <a:pt x="11453489" y="963750"/>
                  <a:pt x="11447857" y="958119"/>
                </a:cubicBezTo>
                <a:cubicBezTo>
                  <a:pt x="11446450" y="956712"/>
                  <a:pt x="11446450" y="956712"/>
                  <a:pt x="11447857" y="955304"/>
                </a:cubicBezTo>
                <a:cubicBezTo>
                  <a:pt x="11447857" y="952489"/>
                  <a:pt x="11454896" y="949673"/>
                  <a:pt x="11467564" y="942636"/>
                </a:cubicBezTo>
                <a:cubicBezTo>
                  <a:pt x="11488680" y="932781"/>
                  <a:pt x="11521055" y="915891"/>
                  <a:pt x="11528092" y="893369"/>
                </a:cubicBezTo>
                <a:cubicBezTo>
                  <a:pt x="11523870" y="893369"/>
                  <a:pt x="11509794" y="893369"/>
                  <a:pt x="11491495" y="866623"/>
                </a:cubicBezTo>
                <a:cubicBezTo>
                  <a:pt x="11468973" y="832841"/>
                  <a:pt x="11456303" y="801873"/>
                  <a:pt x="11430967" y="801873"/>
                </a:cubicBezTo>
                <a:cubicBezTo>
                  <a:pt x="11401406" y="801873"/>
                  <a:pt x="11339471" y="842694"/>
                  <a:pt x="11316948" y="856770"/>
                </a:cubicBezTo>
                <a:cubicBezTo>
                  <a:pt x="11298650" y="824395"/>
                  <a:pt x="11288796" y="789205"/>
                  <a:pt x="11288796" y="749791"/>
                </a:cubicBezTo>
                <a:cubicBezTo>
                  <a:pt x="11288796" y="628735"/>
                  <a:pt x="11387331" y="530201"/>
                  <a:pt x="11508387" y="530201"/>
                </a:cubicBezTo>
                <a:close/>
                <a:moveTo>
                  <a:pt x="11509794" y="511901"/>
                </a:moveTo>
                <a:cubicBezTo>
                  <a:pt x="11377476" y="511901"/>
                  <a:pt x="11270497" y="618881"/>
                  <a:pt x="11270497" y="751198"/>
                </a:cubicBezTo>
                <a:cubicBezTo>
                  <a:pt x="11270497" y="883515"/>
                  <a:pt x="11377476" y="990494"/>
                  <a:pt x="11509794" y="990494"/>
                </a:cubicBezTo>
                <a:cubicBezTo>
                  <a:pt x="11642111" y="990494"/>
                  <a:pt x="11749090" y="883515"/>
                  <a:pt x="11749090" y="751198"/>
                </a:cubicBezTo>
                <a:cubicBezTo>
                  <a:pt x="11749090" y="618881"/>
                  <a:pt x="11642111" y="511901"/>
                  <a:pt x="11509794" y="511901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7F0C7B-D46B-4175-B952-E7CAEE3A79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4572000" cy="2571750"/>
          </a:xfrm>
          <a:solidFill>
            <a:schemeClr val="accent1"/>
          </a:solidFill>
        </p:spPr>
        <p:txBody>
          <a:bodyPr vert="horz" lIns="432000" bIns="1908000" anchor="b"/>
          <a:lstStyle>
            <a:lvl1pPr>
              <a:defRPr sz="1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3532ABAE-498E-45DD-9473-6AFD6060B816}"/>
              </a:ext>
            </a:extLst>
          </p:cNvPr>
          <p:cNvSpPr>
            <a:spLocks noGrp="1"/>
          </p:cNvSpPr>
          <p:nvPr>
            <p:ph type="subTitle" idx="18"/>
          </p:nvPr>
        </p:nvSpPr>
        <p:spPr bwMode="white">
          <a:xfrm>
            <a:off x="332185" y="1271550"/>
            <a:ext cx="3969544" cy="276999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800" b="0" i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225"/>
              </a:spcAft>
              <a:buNone/>
              <a:defRPr sz="1800" i="1">
                <a:solidFill>
                  <a:schemeClr val="accent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9E3FB81-E9A2-4B30-94F2-FE6432E2803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First name last name, date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A5CCE6C-7FEC-4307-B78E-1AD9F2CDE72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8AD48C63-78A6-4D64-B839-4870EFEB9C1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FB532C60-8FD0-4EBF-BA8A-9818731211BB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3"/>
            </p:custDataLst>
          </p:nvPr>
        </p:nvSpPr>
        <p:spPr>
          <a:xfrm>
            <a:off x="6724036" y="4885343"/>
            <a:ext cx="1728839" cy="115416"/>
          </a:xfrm>
        </p:spPr>
        <p:txBody>
          <a:bodyPr/>
          <a:lstStyle>
            <a:lvl1pPr algn="r">
              <a:defRPr sz="750" b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Internal confidential  •  Copyright® 202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908743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9FCC3B"/>
          </p15:clr>
        </p15:guide>
        <p15:guide id="3" pos="3840">
          <p15:clr>
            <a:srgbClr val="9FCC3B"/>
          </p15:clr>
        </p15:guide>
        <p15:guide id="4" orient="horz" pos="4042">
          <p15:clr>
            <a:srgbClr val="9FCC3B"/>
          </p15:clr>
        </p15:guide>
        <p15:guide id="5" pos="279">
          <p15:clr>
            <a:srgbClr val="9FCC3B"/>
          </p15:clr>
        </p15:guide>
        <p15:guide id="6" pos="7401">
          <p15:clr>
            <a:srgbClr val="9FCC3B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Divider 2/4 |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E46E32D-FCE9-4BA7-809D-8BA4F0AAE3E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613070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6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E46E32D-FCE9-4BA7-809D-8BA4F0AAE3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11">
            <a:extLst>
              <a:ext uri="{FF2B5EF4-FFF2-40B4-BE49-F238E27FC236}">
                <a16:creationId xmlns:a16="http://schemas.microsoft.com/office/drawing/2014/main" id="{94DD118D-D574-4D10-AD12-968E6A929AF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3500"/>
          </a:xfrm>
          <a:custGeom>
            <a:avLst/>
            <a:gdLst>
              <a:gd name="connsiteX0" fmla="*/ 11616773 w 12192000"/>
              <a:gd name="connsiteY0" fmla="*/ 766683 h 6858000"/>
              <a:gd name="connsiteX1" fmla="*/ 11606920 w 12192000"/>
              <a:gd name="connsiteY1" fmla="*/ 776535 h 6858000"/>
              <a:gd name="connsiteX2" fmla="*/ 11616773 w 12192000"/>
              <a:gd name="connsiteY2" fmla="*/ 786388 h 6858000"/>
              <a:gd name="connsiteX3" fmla="*/ 11626627 w 12192000"/>
              <a:gd name="connsiteY3" fmla="*/ 776535 h 6858000"/>
              <a:gd name="connsiteX4" fmla="*/ 11616773 w 12192000"/>
              <a:gd name="connsiteY4" fmla="*/ 766683 h 6858000"/>
              <a:gd name="connsiteX5" fmla="*/ 11435366 w 12192000"/>
              <a:gd name="connsiteY5" fmla="*/ 690142 h 6858000"/>
              <a:gd name="connsiteX6" fmla="*/ 11450674 w 12192000"/>
              <a:gd name="connsiteY6" fmla="*/ 692078 h 6858000"/>
              <a:gd name="connsiteX7" fmla="*/ 11452081 w 12192000"/>
              <a:gd name="connsiteY7" fmla="*/ 692078 h 6858000"/>
              <a:gd name="connsiteX8" fmla="*/ 11450674 w 12192000"/>
              <a:gd name="connsiteY8" fmla="*/ 693485 h 6858000"/>
              <a:gd name="connsiteX9" fmla="*/ 11430967 w 12192000"/>
              <a:gd name="connsiteY9" fmla="*/ 710377 h 6858000"/>
              <a:gd name="connsiteX10" fmla="*/ 11414075 w 12192000"/>
              <a:gd name="connsiteY10" fmla="*/ 714599 h 6858000"/>
              <a:gd name="connsiteX11" fmla="*/ 11399999 w 12192000"/>
              <a:gd name="connsiteY11" fmla="*/ 711785 h 6858000"/>
              <a:gd name="connsiteX12" fmla="*/ 11416891 w 12192000"/>
              <a:gd name="connsiteY12" fmla="*/ 697709 h 6858000"/>
              <a:gd name="connsiteX13" fmla="*/ 11435366 w 12192000"/>
              <a:gd name="connsiteY13" fmla="*/ 690142 h 6858000"/>
              <a:gd name="connsiteX14" fmla="*/ 11461934 w 12192000"/>
              <a:gd name="connsiteY14" fmla="*/ 609028 h 6858000"/>
              <a:gd name="connsiteX15" fmla="*/ 11474603 w 12192000"/>
              <a:gd name="connsiteY15" fmla="*/ 618881 h 6858000"/>
              <a:gd name="connsiteX16" fmla="*/ 11461934 w 12192000"/>
              <a:gd name="connsiteY16" fmla="*/ 628735 h 6858000"/>
              <a:gd name="connsiteX17" fmla="*/ 11449266 w 12192000"/>
              <a:gd name="connsiteY17" fmla="*/ 618881 h 6858000"/>
              <a:gd name="connsiteX18" fmla="*/ 11461934 w 12192000"/>
              <a:gd name="connsiteY18" fmla="*/ 609028 h 6858000"/>
              <a:gd name="connsiteX19" fmla="*/ 11508387 w 12192000"/>
              <a:gd name="connsiteY19" fmla="*/ 530201 h 6858000"/>
              <a:gd name="connsiteX20" fmla="*/ 11674486 w 12192000"/>
              <a:gd name="connsiteY20" fmla="*/ 606213 h 6858000"/>
              <a:gd name="connsiteX21" fmla="*/ 11678709 w 12192000"/>
              <a:gd name="connsiteY21" fmla="*/ 679408 h 6858000"/>
              <a:gd name="connsiteX22" fmla="*/ 11625219 w 12192000"/>
              <a:gd name="connsiteY22" fmla="*/ 676593 h 6858000"/>
              <a:gd name="connsiteX23" fmla="*/ 11629443 w 12192000"/>
              <a:gd name="connsiteY23" fmla="*/ 666741 h 6858000"/>
              <a:gd name="connsiteX24" fmla="*/ 11636480 w 12192000"/>
              <a:gd name="connsiteY24" fmla="*/ 665332 h 6858000"/>
              <a:gd name="connsiteX25" fmla="*/ 11637888 w 12192000"/>
              <a:gd name="connsiteY25" fmla="*/ 661110 h 6858000"/>
              <a:gd name="connsiteX26" fmla="*/ 11620997 w 12192000"/>
              <a:gd name="connsiteY26" fmla="*/ 655479 h 6858000"/>
              <a:gd name="connsiteX27" fmla="*/ 11599881 w 12192000"/>
              <a:gd name="connsiteY27" fmla="*/ 656888 h 6858000"/>
              <a:gd name="connsiteX28" fmla="*/ 11591435 w 12192000"/>
              <a:gd name="connsiteY28" fmla="*/ 654071 h 6858000"/>
              <a:gd name="connsiteX29" fmla="*/ 11588620 w 12192000"/>
              <a:gd name="connsiteY29" fmla="*/ 649849 h 6858000"/>
              <a:gd name="connsiteX30" fmla="*/ 11591435 w 12192000"/>
              <a:gd name="connsiteY30" fmla="*/ 641403 h 6858000"/>
              <a:gd name="connsiteX31" fmla="*/ 11599881 w 12192000"/>
              <a:gd name="connsiteY31" fmla="*/ 639996 h 6858000"/>
              <a:gd name="connsiteX32" fmla="*/ 11601290 w 12192000"/>
              <a:gd name="connsiteY32" fmla="*/ 635772 h 6858000"/>
              <a:gd name="connsiteX33" fmla="*/ 11584398 w 12192000"/>
              <a:gd name="connsiteY33" fmla="*/ 630142 h 6858000"/>
              <a:gd name="connsiteX34" fmla="*/ 11563284 w 12192000"/>
              <a:gd name="connsiteY34" fmla="*/ 631550 h 6858000"/>
              <a:gd name="connsiteX35" fmla="*/ 11554838 w 12192000"/>
              <a:gd name="connsiteY35" fmla="*/ 628735 h 6858000"/>
              <a:gd name="connsiteX36" fmla="*/ 11552023 w 12192000"/>
              <a:gd name="connsiteY36" fmla="*/ 624511 h 6858000"/>
              <a:gd name="connsiteX37" fmla="*/ 11554838 w 12192000"/>
              <a:gd name="connsiteY37" fmla="*/ 614659 h 6858000"/>
              <a:gd name="connsiteX38" fmla="*/ 11563284 w 12192000"/>
              <a:gd name="connsiteY38" fmla="*/ 613250 h 6858000"/>
              <a:gd name="connsiteX39" fmla="*/ 11564691 w 12192000"/>
              <a:gd name="connsiteY39" fmla="*/ 609028 h 6858000"/>
              <a:gd name="connsiteX40" fmla="*/ 11547799 w 12192000"/>
              <a:gd name="connsiteY40" fmla="*/ 603397 h 6858000"/>
              <a:gd name="connsiteX41" fmla="*/ 11526685 w 12192000"/>
              <a:gd name="connsiteY41" fmla="*/ 604804 h 6858000"/>
              <a:gd name="connsiteX42" fmla="*/ 11522463 w 12192000"/>
              <a:gd name="connsiteY42" fmla="*/ 603397 h 6858000"/>
              <a:gd name="connsiteX43" fmla="*/ 11521055 w 12192000"/>
              <a:gd name="connsiteY43" fmla="*/ 600582 h 6858000"/>
              <a:gd name="connsiteX44" fmla="*/ 11522463 w 12192000"/>
              <a:gd name="connsiteY44" fmla="*/ 593545 h 6858000"/>
              <a:gd name="connsiteX45" fmla="*/ 11523870 w 12192000"/>
              <a:gd name="connsiteY45" fmla="*/ 573836 h 6858000"/>
              <a:gd name="connsiteX46" fmla="*/ 11511200 w 12192000"/>
              <a:gd name="connsiteY46" fmla="*/ 551315 h 6858000"/>
              <a:gd name="connsiteX47" fmla="*/ 11506978 w 12192000"/>
              <a:gd name="connsiteY47" fmla="*/ 549907 h 6858000"/>
              <a:gd name="connsiteX48" fmla="*/ 11505571 w 12192000"/>
              <a:gd name="connsiteY48" fmla="*/ 555537 h 6858000"/>
              <a:gd name="connsiteX49" fmla="*/ 11480234 w 12192000"/>
              <a:gd name="connsiteY49" fmla="*/ 589321 h 6858000"/>
              <a:gd name="connsiteX50" fmla="*/ 11471788 w 12192000"/>
              <a:gd name="connsiteY50" fmla="*/ 589321 h 6858000"/>
              <a:gd name="connsiteX51" fmla="*/ 11466157 w 12192000"/>
              <a:gd name="connsiteY51" fmla="*/ 589321 h 6858000"/>
              <a:gd name="connsiteX52" fmla="*/ 11463342 w 12192000"/>
              <a:gd name="connsiteY52" fmla="*/ 589321 h 6858000"/>
              <a:gd name="connsiteX53" fmla="*/ 11457711 w 12192000"/>
              <a:gd name="connsiteY53" fmla="*/ 589321 h 6858000"/>
              <a:gd name="connsiteX54" fmla="*/ 11449266 w 12192000"/>
              <a:gd name="connsiteY54" fmla="*/ 590728 h 6858000"/>
              <a:gd name="connsiteX55" fmla="*/ 11429558 w 12192000"/>
              <a:gd name="connsiteY55" fmla="*/ 610435 h 6858000"/>
              <a:gd name="connsiteX56" fmla="*/ 11429558 w 12192000"/>
              <a:gd name="connsiteY56" fmla="*/ 613250 h 6858000"/>
              <a:gd name="connsiteX57" fmla="*/ 11426743 w 12192000"/>
              <a:gd name="connsiteY57" fmla="*/ 617474 h 6858000"/>
              <a:gd name="connsiteX58" fmla="*/ 11415482 w 12192000"/>
              <a:gd name="connsiteY58" fmla="*/ 618881 h 6858000"/>
              <a:gd name="connsiteX59" fmla="*/ 11373254 w 12192000"/>
              <a:gd name="connsiteY59" fmla="*/ 607619 h 6858000"/>
              <a:gd name="connsiteX60" fmla="*/ 11370439 w 12192000"/>
              <a:gd name="connsiteY60" fmla="*/ 606213 h 6858000"/>
              <a:gd name="connsiteX61" fmla="*/ 11369031 w 12192000"/>
              <a:gd name="connsiteY61" fmla="*/ 607619 h 6858000"/>
              <a:gd name="connsiteX62" fmla="*/ 11357769 w 12192000"/>
              <a:gd name="connsiteY62" fmla="*/ 637181 h 6858000"/>
              <a:gd name="connsiteX63" fmla="*/ 11377476 w 12192000"/>
              <a:gd name="connsiteY63" fmla="*/ 673778 h 6858000"/>
              <a:gd name="connsiteX64" fmla="*/ 11384514 w 12192000"/>
              <a:gd name="connsiteY64" fmla="*/ 678002 h 6858000"/>
              <a:gd name="connsiteX65" fmla="*/ 11384514 w 12192000"/>
              <a:gd name="connsiteY65" fmla="*/ 675186 h 6858000"/>
              <a:gd name="connsiteX66" fmla="*/ 11387331 w 12192000"/>
              <a:gd name="connsiteY66" fmla="*/ 665332 h 6858000"/>
              <a:gd name="connsiteX67" fmla="*/ 11405629 w 12192000"/>
              <a:gd name="connsiteY67" fmla="*/ 661110 h 6858000"/>
              <a:gd name="connsiteX68" fmla="*/ 11407036 w 12192000"/>
              <a:gd name="connsiteY68" fmla="*/ 662517 h 6858000"/>
              <a:gd name="connsiteX69" fmla="*/ 11419706 w 12192000"/>
              <a:gd name="connsiteY69" fmla="*/ 666741 h 6858000"/>
              <a:gd name="connsiteX70" fmla="*/ 11432374 w 12192000"/>
              <a:gd name="connsiteY70" fmla="*/ 662517 h 6858000"/>
              <a:gd name="connsiteX71" fmla="*/ 11450674 w 12192000"/>
              <a:gd name="connsiteY71" fmla="*/ 662517 h 6858000"/>
              <a:gd name="connsiteX72" fmla="*/ 11453489 w 12192000"/>
              <a:gd name="connsiteY72" fmla="*/ 678002 h 6858000"/>
              <a:gd name="connsiteX73" fmla="*/ 11453489 w 12192000"/>
              <a:gd name="connsiteY73" fmla="*/ 679408 h 6858000"/>
              <a:gd name="connsiteX74" fmla="*/ 11452081 w 12192000"/>
              <a:gd name="connsiteY74" fmla="*/ 679408 h 6858000"/>
              <a:gd name="connsiteX75" fmla="*/ 11418297 w 12192000"/>
              <a:gd name="connsiteY75" fmla="*/ 676593 h 6858000"/>
              <a:gd name="connsiteX76" fmla="*/ 11398590 w 12192000"/>
              <a:gd name="connsiteY76" fmla="*/ 685039 h 6858000"/>
              <a:gd name="connsiteX77" fmla="*/ 11364808 w 12192000"/>
              <a:gd name="connsiteY77" fmla="*/ 692078 h 6858000"/>
              <a:gd name="connsiteX78" fmla="*/ 11343693 w 12192000"/>
              <a:gd name="connsiteY78" fmla="*/ 672371 h 6858000"/>
              <a:gd name="connsiteX79" fmla="*/ 11342286 w 12192000"/>
              <a:gd name="connsiteY79" fmla="*/ 669556 h 6858000"/>
              <a:gd name="connsiteX80" fmla="*/ 11340878 w 12192000"/>
              <a:gd name="connsiteY80" fmla="*/ 673778 h 6858000"/>
              <a:gd name="connsiteX81" fmla="*/ 11349323 w 12192000"/>
              <a:gd name="connsiteY81" fmla="*/ 707561 h 6858000"/>
              <a:gd name="connsiteX82" fmla="*/ 11390146 w 12192000"/>
              <a:gd name="connsiteY82" fmla="*/ 713192 h 6858000"/>
              <a:gd name="connsiteX83" fmla="*/ 11391553 w 12192000"/>
              <a:gd name="connsiteY83" fmla="*/ 711785 h 6858000"/>
              <a:gd name="connsiteX84" fmla="*/ 11391553 w 12192000"/>
              <a:gd name="connsiteY84" fmla="*/ 713192 h 6858000"/>
              <a:gd name="connsiteX85" fmla="*/ 11395775 w 12192000"/>
              <a:gd name="connsiteY85" fmla="*/ 727269 h 6858000"/>
              <a:gd name="connsiteX86" fmla="*/ 11414075 w 12192000"/>
              <a:gd name="connsiteY86" fmla="*/ 739936 h 6858000"/>
              <a:gd name="connsiteX87" fmla="*/ 11436598 w 12192000"/>
              <a:gd name="connsiteY87" fmla="*/ 730084 h 6858000"/>
              <a:gd name="connsiteX88" fmla="*/ 11484456 w 12192000"/>
              <a:gd name="connsiteY88" fmla="*/ 713192 h 6858000"/>
              <a:gd name="connsiteX89" fmla="*/ 11552023 w 12192000"/>
              <a:gd name="connsiteY89" fmla="*/ 786388 h 6858000"/>
              <a:gd name="connsiteX90" fmla="*/ 11557654 w 12192000"/>
              <a:gd name="connsiteY90" fmla="*/ 796242 h 6858000"/>
              <a:gd name="connsiteX91" fmla="*/ 11557654 w 12192000"/>
              <a:gd name="connsiteY91" fmla="*/ 797649 h 6858000"/>
              <a:gd name="connsiteX92" fmla="*/ 11563284 w 12192000"/>
              <a:gd name="connsiteY92" fmla="*/ 801873 h 6858000"/>
              <a:gd name="connsiteX93" fmla="*/ 11566099 w 12192000"/>
              <a:gd name="connsiteY93" fmla="*/ 797649 h 6858000"/>
              <a:gd name="connsiteX94" fmla="*/ 11595659 w 12192000"/>
              <a:gd name="connsiteY94" fmla="*/ 758237 h 6858000"/>
              <a:gd name="connsiteX95" fmla="*/ 11622404 w 12192000"/>
              <a:gd name="connsiteY95" fmla="*/ 754013 h 6858000"/>
              <a:gd name="connsiteX96" fmla="*/ 11625219 w 12192000"/>
              <a:gd name="connsiteY96" fmla="*/ 754013 h 6858000"/>
              <a:gd name="connsiteX97" fmla="*/ 11650556 w 12192000"/>
              <a:gd name="connsiteY97" fmla="*/ 744160 h 6858000"/>
              <a:gd name="connsiteX98" fmla="*/ 11718122 w 12192000"/>
              <a:gd name="connsiteY98" fmla="*/ 718823 h 6858000"/>
              <a:gd name="connsiteX99" fmla="*/ 11727976 w 12192000"/>
              <a:gd name="connsiteY99" fmla="*/ 721638 h 6858000"/>
              <a:gd name="connsiteX100" fmla="*/ 11725161 w 12192000"/>
              <a:gd name="connsiteY100" fmla="*/ 728675 h 6858000"/>
              <a:gd name="connsiteX101" fmla="*/ 11720939 w 12192000"/>
              <a:gd name="connsiteY101" fmla="*/ 730084 h 6858000"/>
              <a:gd name="connsiteX102" fmla="*/ 11639295 w 12192000"/>
              <a:gd name="connsiteY102" fmla="*/ 789205 h 6858000"/>
              <a:gd name="connsiteX103" fmla="*/ 11636480 w 12192000"/>
              <a:gd name="connsiteY103" fmla="*/ 810319 h 6858000"/>
              <a:gd name="connsiteX104" fmla="*/ 11636480 w 12192000"/>
              <a:gd name="connsiteY104" fmla="*/ 820172 h 6858000"/>
              <a:gd name="connsiteX105" fmla="*/ 11609736 w 12192000"/>
              <a:gd name="connsiteY105" fmla="*/ 886330 h 6858000"/>
              <a:gd name="connsiteX106" fmla="*/ 11582989 w 12192000"/>
              <a:gd name="connsiteY106" fmla="*/ 908852 h 6858000"/>
              <a:gd name="connsiteX107" fmla="*/ 11577361 w 12192000"/>
              <a:gd name="connsiteY107" fmla="*/ 914483 h 6858000"/>
              <a:gd name="connsiteX108" fmla="*/ 11571730 w 12192000"/>
              <a:gd name="connsiteY108" fmla="*/ 921520 h 6858000"/>
              <a:gd name="connsiteX109" fmla="*/ 11544984 w 12192000"/>
              <a:gd name="connsiteY109" fmla="*/ 951082 h 6858000"/>
              <a:gd name="connsiteX110" fmla="*/ 11518239 w 12192000"/>
              <a:gd name="connsiteY110" fmla="*/ 969380 h 6858000"/>
              <a:gd name="connsiteX111" fmla="*/ 11516833 w 12192000"/>
              <a:gd name="connsiteY111" fmla="*/ 969380 h 6858000"/>
              <a:gd name="connsiteX112" fmla="*/ 11515424 w 12192000"/>
              <a:gd name="connsiteY112" fmla="*/ 967974 h 6858000"/>
              <a:gd name="connsiteX113" fmla="*/ 11529501 w 12192000"/>
              <a:gd name="connsiteY113" fmla="*/ 946858 h 6858000"/>
              <a:gd name="connsiteX114" fmla="*/ 11543577 w 12192000"/>
              <a:gd name="connsiteY114" fmla="*/ 927151 h 6858000"/>
              <a:gd name="connsiteX115" fmla="*/ 11529501 w 12192000"/>
              <a:gd name="connsiteY115" fmla="*/ 932781 h 6858000"/>
              <a:gd name="connsiteX116" fmla="*/ 11515424 w 12192000"/>
              <a:gd name="connsiteY116" fmla="*/ 939821 h 6858000"/>
              <a:gd name="connsiteX117" fmla="*/ 11447857 w 12192000"/>
              <a:gd name="connsiteY117" fmla="*/ 958119 h 6858000"/>
              <a:gd name="connsiteX118" fmla="*/ 11447857 w 12192000"/>
              <a:gd name="connsiteY118" fmla="*/ 955304 h 6858000"/>
              <a:gd name="connsiteX119" fmla="*/ 11467564 w 12192000"/>
              <a:gd name="connsiteY119" fmla="*/ 942636 h 6858000"/>
              <a:gd name="connsiteX120" fmla="*/ 11528092 w 12192000"/>
              <a:gd name="connsiteY120" fmla="*/ 893369 h 6858000"/>
              <a:gd name="connsiteX121" fmla="*/ 11491495 w 12192000"/>
              <a:gd name="connsiteY121" fmla="*/ 866623 h 6858000"/>
              <a:gd name="connsiteX122" fmla="*/ 11430967 w 12192000"/>
              <a:gd name="connsiteY122" fmla="*/ 801873 h 6858000"/>
              <a:gd name="connsiteX123" fmla="*/ 11316948 w 12192000"/>
              <a:gd name="connsiteY123" fmla="*/ 856770 h 6858000"/>
              <a:gd name="connsiteX124" fmla="*/ 11288796 w 12192000"/>
              <a:gd name="connsiteY124" fmla="*/ 749791 h 6858000"/>
              <a:gd name="connsiteX125" fmla="*/ 11508387 w 12192000"/>
              <a:gd name="connsiteY125" fmla="*/ 530201 h 6858000"/>
              <a:gd name="connsiteX126" fmla="*/ 11509794 w 12192000"/>
              <a:gd name="connsiteY126" fmla="*/ 511901 h 6858000"/>
              <a:gd name="connsiteX127" fmla="*/ 11270497 w 12192000"/>
              <a:gd name="connsiteY127" fmla="*/ 751198 h 6858000"/>
              <a:gd name="connsiteX128" fmla="*/ 11509794 w 12192000"/>
              <a:gd name="connsiteY128" fmla="*/ 990494 h 6858000"/>
              <a:gd name="connsiteX129" fmla="*/ 11749090 w 12192000"/>
              <a:gd name="connsiteY129" fmla="*/ 751198 h 6858000"/>
              <a:gd name="connsiteX130" fmla="*/ 11509794 w 12192000"/>
              <a:gd name="connsiteY130" fmla="*/ 511901 h 6858000"/>
              <a:gd name="connsiteX131" fmla="*/ 0 w 12192000"/>
              <a:gd name="connsiteY131" fmla="*/ 0 h 6858000"/>
              <a:gd name="connsiteX132" fmla="*/ 12192000 w 12192000"/>
              <a:gd name="connsiteY132" fmla="*/ 0 h 6858000"/>
              <a:gd name="connsiteX133" fmla="*/ 12192000 w 12192000"/>
              <a:gd name="connsiteY133" fmla="*/ 6858000 h 6858000"/>
              <a:gd name="connsiteX134" fmla="*/ 0 w 12192000"/>
              <a:gd name="connsiteY13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</a:cxnLst>
            <a:rect l="l" t="t" r="r" b="b"/>
            <a:pathLst>
              <a:path w="12192000" h="6858000">
                <a:moveTo>
                  <a:pt x="11616773" y="766683"/>
                </a:moveTo>
                <a:cubicBezTo>
                  <a:pt x="11611142" y="766683"/>
                  <a:pt x="11606920" y="770905"/>
                  <a:pt x="11606920" y="776535"/>
                </a:cubicBezTo>
                <a:cubicBezTo>
                  <a:pt x="11606920" y="782166"/>
                  <a:pt x="11611142" y="786388"/>
                  <a:pt x="11616773" y="786388"/>
                </a:cubicBezTo>
                <a:cubicBezTo>
                  <a:pt x="11622404" y="784981"/>
                  <a:pt x="11626627" y="780759"/>
                  <a:pt x="11626627" y="776535"/>
                </a:cubicBezTo>
                <a:cubicBezTo>
                  <a:pt x="11626627" y="770905"/>
                  <a:pt x="11622404" y="766683"/>
                  <a:pt x="11616773" y="766683"/>
                </a:cubicBezTo>
                <a:close/>
                <a:moveTo>
                  <a:pt x="11435366" y="690142"/>
                </a:moveTo>
                <a:cubicBezTo>
                  <a:pt x="11440820" y="689262"/>
                  <a:pt x="11445747" y="689966"/>
                  <a:pt x="11450674" y="692078"/>
                </a:cubicBezTo>
                <a:lnTo>
                  <a:pt x="11452081" y="692078"/>
                </a:lnTo>
                <a:cubicBezTo>
                  <a:pt x="11452081" y="692078"/>
                  <a:pt x="11452081" y="693485"/>
                  <a:pt x="11450674" y="693485"/>
                </a:cubicBezTo>
                <a:cubicBezTo>
                  <a:pt x="11447857" y="699116"/>
                  <a:pt x="11442228" y="706155"/>
                  <a:pt x="11430967" y="710377"/>
                </a:cubicBezTo>
                <a:cubicBezTo>
                  <a:pt x="11423928" y="713192"/>
                  <a:pt x="11419706" y="714599"/>
                  <a:pt x="11414075" y="714599"/>
                </a:cubicBezTo>
                <a:cubicBezTo>
                  <a:pt x="11407036" y="714599"/>
                  <a:pt x="11401406" y="713192"/>
                  <a:pt x="11399999" y="711785"/>
                </a:cubicBezTo>
                <a:cubicBezTo>
                  <a:pt x="11399999" y="711785"/>
                  <a:pt x="11407036" y="704746"/>
                  <a:pt x="11416891" y="697709"/>
                </a:cubicBezTo>
                <a:cubicBezTo>
                  <a:pt x="11423929" y="693486"/>
                  <a:pt x="11429911" y="691022"/>
                  <a:pt x="11435366" y="690142"/>
                </a:cubicBezTo>
                <a:close/>
                <a:moveTo>
                  <a:pt x="11461934" y="609028"/>
                </a:moveTo>
                <a:cubicBezTo>
                  <a:pt x="11468973" y="609028"/>
                  <a:pt x="11474603" y="613250"/>
                  <a:pt x="11474603" y="618881"/>
                </a:cubicBezTo>
                <a:cubicBezTo>
                  <a:pt x="11474603" y="624511"/>
                  <a:pt x="11468973" y="628735"/>
                  <a:pt x="11461934" y="628735"/>
                </a:cubicBezTo>
                <a:cubicBezTo>
                  <a:pt x="11454896" y="628735"/>
                  <a:pt x="11449266" y="624511"/>
                  <a:pt x="11449266" y="618881"/>
                </a:cubicBezTo>
                <a:cubicBezTo>
                  <a:pt x="11449266" y="613250"/>
                  <a:pt x="11454896" y="609028"/>
                  <a:pt x="11461934" y="609028"/>
                </a:cubicBezTo>
                <a:close/>
                <a:moveTo>
                  <a:pt x="11508387" y="530201"/>
                </a:moveTo>
                <a:cubicBezTo>
                  <a:pt x="11574544" y="530201"/>
                  <a:pt x="11633665" y="559761"/>
                  <a:pt x="11674486" y="606213"/>
                </a:cubicBezTo>
                <a:cubicBezTo>
                  <a:pt x="11699823" y="638588"/>
                  <a:pt x="11695601" y="665332"/>
                  <a:pt x="11678709" y="679408"/>
                </a:cubicBezTo>
                <a:cubicBezTo>
                  <a:pt x="11657596" y="694893"/>
                  <a:pt x="11629443" y="689263"/>
                  <a:pt x="11625219" y="676593"/>
                </a:cubicBezTo>
                <a:cubicBezTo>
                  <a:pt x="11623812" y="669556"/>
                  <a:pt x="11629443" y="666741"/>
                  <a:pt x="11629443" y="666741"/>
                </a:cubicBezTo>
                <a:cubicBezTo>
                  <a:pt x="11630849" y="665332"/>
                  <a:pt x="11633665" y="665332"/>
                  <a:pt x="11636480" y="665332"/>
                </a:cubicBezTo>
                <a:cubicBezTo>
                  <a:pt x="11640704" y="665332"/>
                  <a:pt x="11640704" y="662517"/>
                  <a:pt x="11637888" y="661110"/>
                </a:cubicBezTo>
                <a:cubicBezTo>
                  <a:pt x="11633665" y="658295"/>
                  <a:pt x="11626627" y="655479"/>
                  <a:pt x="11620997" y="655479"/>
                </a:cubicBezTo>
                <a:cubicBezTo>
                  <a:pt x="11612551" y="655479"/>
                  <a:pt x="11599881" y="656888"/>
                  <a:pt x="11599881" y="656888"/>
                </a:cubicBezTo>
                <a:cubicBezTo>
                  <a:pt x="11597066" y="656888"/>
                  <a:pt x="11594252" y="655479"/>
                  <a:pt x="11591435" y="654071"/>
                </a:cubicBezTo>
                <a:cubicBezTo>
                  <a:pt x="11590028" y="652664"/>
                  <a:pt x="11588620" y="651256"/>
                  <a:pt x="11588620" y="649849"/>
                </a:cubicBezTo>
                <a:cubicBezTo>
                  <a:pt x="11587213" y="642811"/>
                  <a:pt x="11591435" y="641403"/>
                  <a:pt x="11591435" y="641403"/>
                </a:cubicBezTo>
                <a:cubicBezTo>
                  <a:pt x="11592844" y="639996"/>
                  <a:pt x="11597066" y="638588"/>
                  <a:pt x="11599881" y="639996"/>
                </a:cubicBezTo>
                <a:cubicBezTo>
                  <a:pt x="11604105" y="639996"/>
                  <a:pt x="11604105" y="637181"/>
                  <a:pt x="11601290" y="635772"/>
                </a:cubicBezTo>
                <a:cubicBezTo>
                  <a:pt x="11597066" y="632957"/>
                  <a:pt x="11590028" y="630142"/>
                  <a:pt x="11584398" y="630142"/>
                </a:cubicBezTo>
                <a:cubicBezTo>
                  <a:pt x="11575952" y="630142"/>
                  <a:pt x="11563284" y="631550"/>
                  <a:pt x="11563284" y="631550"/>
                </a:cubicBezTo>
                <a:cubicBezTo>
                  <a:pt x="11560469" y="631550"/>
                  <a:pt x="11557654" y="630142"/>
                  <a:pt x="11554838" y="628735"/>
                </a:cubicBezTo>
                <a:cubicBezTo>
                  <a:pt x="11553430" y="627326"/>
                  <a:pt x="11552023" y="625920"/>
                  <a:pt x="11552023" y="624511"/>
                </a:cubicBezTo>
                <a:cubicBezTo>
                  <a:pt x="11550614" y="617474"/>
                  <a:pt x="11554838" y="614659"/>
                  <a:pt x="11554838" y="614659"/>
                </a:cubicBezTo>
                <a:cubicBezTo>
                  <a:pt x="11556245" y="613250"/>
                  <a:pt x="11559060" y="611843"/>
                  <a:pt x="11563284" y="613250"/>
                </a:cubicBezTo>
                <a:cubicBezTo>
                  <a:pt x="11567506" y="613250"/>
                  <a:pt x="11567506" y="610435"/>
                  <a:pt x="11564691" y="609028"/>
                </a:cubicBezTo>
                <a:cubicBezTo>
                  <a:pt x="11560469" y="606213"/>
                  <a:pt x="11553430" y="603397"/>
                  <a:pt x="11547799" y="603397"/>
                </a:cubicBezTo>
                <a:cubicBezTo>
                  <a:pt x="11539353" y="603397"/>
                  <a:pt x="11526685" y="604804"/>
                  <a:pt x="11526685" y="604804"/>
                </a:cubicBezTo>
                <a:cubicBezTo>
                  <a:pt x="11525277" y="604804"/>
                  <a:pt x="11522463" y="604804"/>
                  <a:pt x="11522463" y="603397"/>
                </a:cubicBezTo>
                <a:cubicBezTo>
                  <a:pt x="11521055" y="601989"/>
                  <a:pt x="11521055" y="601989"/>
                  <a:pt x="11521055" y="600582"/>
                </a:cubicBezTo>
                <a:cubicBezTo>
                  <a:pt x="11521055" y="599174"/>
                  <a:pt x="11521055" y="596358"/>
                  <a:pt x="11522463" y="593545"/>
                </a:cubicBezTo>
                <a:cubicBezTo>
                  <a:pt x="11523870" y="587912"/>
                  <a:pt x="11525277" y="582282"/>
                  <a:pt x="11523870" y="573836"/>
                </a:cubicBezTo>
                <a:cubicBezTo>
                  <a:pt x="11522463" y="558353"/>
                  <a:pt x="11514017" y="552722"/>
                  <a:pt x="11511200" y="551315"/>
                </a:cubicBezTo>
                <a:cubicBezTo>
                  <a:pt x="11508387" y="549907"/>
                  <a:pt x="11506978" y="549907"/>
                  <a:pt x="11506978" y="549907"/>
                </a:cubicBezTo>
                <a:cubicBezTo>
                  <a:pt x="11506978" y="549907"/>
                  <a:pt x="11505571" y="552722"/>
                  <a:pt x="11505571" y="555537"/>
                </a:cubicBezTo>
                <a:cubicBezTo>
                  <a:pt x="11504163" y="566799"/>
                  <a:pt x="11502756" y="589321"/>
                  <a:pt x="11480234" y="589321"/>
                </a:cubicBezTo>
                <a:cubicBezTo>
                  <a:pt x="11477418" y="589321"/>
                  <a:pt x="11474603" y="589321"/>
                  <a:pt x="11471788" y="589321"/>
                </a:cubicBezTo>
                <a:cubicBezTo>
                  <a:pt x="11470379" y="589321"/>
                  <a:pt x="11467564" y="589321"/>
                  <a:pt x="11466157" y="589321"/>
                </a:cubicBezTo>
                <a:cubicBezTo>
                  <a:pt x="11464749" y="589321"/>
                  <a:pt x="11464749" y="589321"/>
                  <a:pt x="11463342" y="589321"/>
                </a:cubicBezTo>
                <a:cubicBezTo>
                  <a:pt x="11461934" y="589321"/>
                  <a:pt x="11459120" y="589321"/>
                  <a:pt x="11457711" y="589321"/>
                </a:cubicBezTo>
                <a:cubicBezTo>
                  <a:pt x="11454896" y="589321"/>
                  <a:pt x="11452081" y="589321"/>
                  <a:pt x="11449266" y="590728"/>
                </a:cubicBezTo>
                <a:cubicBezTo>
                  <a:pt x="11438004" y="593545"/>
                  <a:pt x="11430967" y="600582"/>
                  <a:pt x="11429558" y="610435"/>
                </a:cubicBezTo>
                <a:cubicBezTo>
                  <a:pt x="11429558" y="611843"/>
                  <a:pt x="11429558" y="611843"/>
                  <a:pt x="11429558" y="613250"/>
                </a:cubicBezTo>
                <a:cubicBezTo>
                  <a:pt x="11429558" y="614659"/>
                  <a:pt x="11429558" y="617474"/>
                  <a:pt x="11426743" y="617474"/>
                </a:cubicBezTo>
                <a:cubicBezTo>
                  <a:pt x="11426743" y="617474"/>
                  <a:pt x="11422521" y="618881"/>
                  <a:pt x="11415482" y="618881"/>
                </a:cubicBezTo>
                <a:cubicBezTo>
                  <a:pt x="11390146" y="621696"/>
                  <a:pt x="11380292" y="611843"/>
                  <a:pt x="11373254" y="607619"/>
                </a:cubicBezTo>
                <a:cubicBezTo>
                  <a:pt x="11371846" y="607619"/>
                  <a:pt x="11370439" y="606213"/>
                  <a:pt x="11370439" y="606213"/>
                </a:cubicBezTo>
                <a:cubicBezTo>
                  <a:pt x="11370439" y="606213"/>
                  <a:pt x="11370439" y="606213"/>
                  <a:pt x="11369031" y="607619"/>
                </a:cubicBezTo>
                <a:cubicBezTo>
                  <a:pt x="11364808" y="611843"/>
                  <a:pt x="11357769" y="624511"/>
                  <a:pt x="11357769" y="637181"/>
                </a:cubicBezTo>
                <a:cubicBezTo>
                  <a:pt x="11359178" y="658295"/>
                  <a:pt x="11373254" y="670963"/>
                  <a:pt x="11377476" y="673778"/>
                </a:cubicBezTo>
                <a:cubicBezTo>
                  <a:pt x="11381700" y="676593"/>
                  <a:pt x="11384514" y="678002"/>
                  <a:pt x="11384514" y="678002"/>
                </a:cubicBezTo>
                <a:cubicBezTo>
                  <a:pt x="11384514" y="678002"/>
                  <a:pt x="11384514" y="676593"/>
                  <a:pt x="11384514" y="675186"/>
                </a:cubicBezTo>
                <a:cubicBezTo>
                  <a:pt x="11384514" y="672371"/>
                  <a:pt x="11384514" y="669556"/>
                  <a:pt x="11387331" y="665332"/>
                </a:cubicBezTo>
                <a:cubicBezTo>
                  <a:pt x="11392960" y="655479"/>
                  <a:pt x="11401406" y="659701"/>
                  <a:pt x="11405629" y="661110"/>
                </a:cubicBezTo>
                <a:cubicBezTo>
                  <a:pt x="11407036" y="661110"/>
                  <a:pt x="11407036" y="661110"/>
                  <a:pt x="11407036" y="662517"/>
                </a:cubicBezTo>
                <a:cubicBezTo>
                  <a:pt x="11411260" y="663925"/>
                  <a:pt x="11415482" y="666741"/>
                  <a:pt x="11419706" y="666741"/>
                </a:cubicBezTo>
                <a:cubicBezTo>
                  <a:pt x="11423928" y="666741"/>
                  <a:pt x="11429558" y="663925"/>
                  <a:pt x="11432374" y="662517"/>
                </a:cubicBezTo>
                <a:cubicBezTo>
                  <a:pt x="11439413" y="659701"/>
                  <a:pt x="11446450" y="658295"/>
                  <a:pt x="11450674" y="662517"/>
                </a:cubicBezTo>
                <a:cubicBezTo>
                  <a:pt x="11454896" y="666741"/>
                  <a:pt x="11453489" y="676593"/>
                  <a:pt x="11453489" y="678002"/>
                </a:cubicBezTo>
                <a:lnTo>
                  <a:pt x="11453489" y="679408"/>
                </a:lnTo>
                <a:lnTo>
                  <a:pt x="11452081" y="679408"/>
                </a:lnTo>
                <a:cubicBezTo>
                  <a:pt x="11436598" y="673778"/>
                  <a:pt x="11430967" y="675186"/>
                  <a:pt x="11418297" y="676593"/>
                </a:cubicBezTo>
                <a:cubicBezTo>
                  <a:pt x="11411260" y="678002"/>
                  <a:pt x="11404221" y="682224"/>
                  <a:pt x="11398590" y="685039"/>
                </a:cubicBezTo>
                <a:cubicBezTo>
                  <a:pt x="11385922" y="692078"/>
                  <a:pt x="11380292" y="697709"/>
                  <a:pt x="11364808" y="692078"/>
                </a:cubicBezTo>
                <a:cubicBezTo>
                  <a:pt x="11350732" y="686448"/>
                  <a:pt x="11346508" y="678002"/>
                  <a:pt x="11343693" y="672371"/>
                </a:cubicBezTo>
                <a:cubicBezTo>
                  <a:pt x="11342286" y="670963"/>
                  <a:pt x="11342286" y="669556"/>
                  <a:pt x="11342286" y="669556"/>
                </a:cubicBezTo>
                <a:cubicBezTo>
                  <a:pt x="11342286" y="669556"/>
                  <a:pt x="11340878" y="670963"/>
                  <a:pt x="11340878" y="673778"/>
                </a:cubicBezTo>
                <a:cubicBezTo>
                  <a:pt x="11338062" y="680817"/>
                  <a:pt x="11338062" y="694893"/>
                  <a:pt x="11349323" y="707561"/>
                </a:cubicBezTo>
                <a:cubicBezTo>
                  <a:pt x="11364808" y="725860"/>
                  <a:pt x="11380292" y="718823"/>
                  <a:pt x="11390146" y="713192"/>
                </a:cubicBezTo>
                <a:lnTo>
                  <a:pt x="11391553" y="711785"/>
                </a:lnTo>
                <a:lnTo>
                  <a:pt x="11391553" y="713192"/>
                </a:lnTo>
                <a:cubicBezTo>
                  <a:pt x="11391553" y="716007"/>
                  <a:pt x="11392960" y="721638"/>
                  <a:pt x="11395775" y="727269"/>
                </a:cubicBezTo>
                <a:cubicBezTo>
                  <a:pt x="11398590" y="732899"/>
                  <a:pt x="11405629" y="739936"/>
                  <a:pt x="11414075" y="739936"/>
                </a:cubicBezTo>
                <a:cubicBezTo>
                  <a:pt x="11419706" y="739936"/>
                  <a:pt x="11428152" y="735714"/>
                  <a:pt x="11436598" y="730084"/>
                </a:cubicBezTo>
                <a:cubicBezTo>
                  <a:pt x="11452081" y="721638"/>
                  <a:pt x="11464749" y="710377"/>
                  <a:pt x="11484456" y="713192"/>
                </a:cubicBezTo>
                <a:cubicBezTo>
                  <a:pt x="11515424" y="718823"/>
                  <a:pt x="11540762" y="765274"/>
                  <a:pt x="11552023" y="786388"/>
                </a:cubicBezTo>
                <a:cubicBezTo>
                  <a:pt x="11554838" y="790612"/>
                  <a:pt x="11556245" y="794834"/>
                  <a:pt x="11557654" y="796242"/>
                </a:cubicBezTo>
                <a:cubicBezTo>
                  <a:pt x="11557654" y="796242"/>
                  <a:pt x="11557654" y="796242"/>
                  <a:pt x="11557654" y="797649"/>
                </a:cubicBezTo>
                <a:cubicBezTo>
                  <a:pt x="11559060" y="799058"/>
                  <a:pt x="11561876" y="803280"/>
                  <a:pt x="11563284" y="801873"/>
                </a:cubicBezTo>
                <a:cubicBezTo>
                  <a:pt x="11566099" y="800464"/>
                  <a:pt x="11566099" y="797649"/>
                  <a:pt x="11566099" y="797649"/>
                </a:cubicBezTo>
                <a:cubicBezTo>
                  <a:pt x="11568915" y="772313"/>
                  <a:pt x="11585806" y="762459"/>
                  <a:pt x="11595659" y="758237"/>
                </a:cubicBezTo>
                <a:cubicBezTo>
                  <a:pt x="11605512" y="754013"/>
                  <a:pt x="11615366" y="754013"/>
                  <a:pt x="11622404" y="754013"/>
                </a:cubicBezTo>
                <a:cubicBezTo>
                  <a:pt x="11623812" y="754013"/>
                  <a:pt x="11623812" y="754013"/>
                  <a:pt x="11625219" y="754013"/>
                </a:cubicBezTo>
                <a:cubicBezTo>
                  <a:pt x="11630849" y="754013"/>
                  <a:pt x="11639295" y="749791"/>
                  <a:pt x="11650556" y="744160"/>
                </a:cubicBezTo>
                <a:cubicBezTo>
                  <a:pt x="11667448" y="735714"/>
                  <a:pt x="11689971" y="724453"/>
                  <a:pt x="11718122" y="718823"/>
                </a:cubicBezTo>
                <a:cubicBezTo>
                  <a:pt x="11725161" y="717414"/>
                  <a:pt x="11727976" y="718823"/>
                  <a:pt x="11727976" y="721638"/>
                </a:cubicBezTo>
                <a:cubicBezTo>
                  <a:pt x="11727976" y="723045"/>
                  <a:pt x="11727976" y="727269"/>
                  <a:pt x="11725161" y="728675"/>
                </a:cubicBezTo>
                <a:lnTo>
                  <a:pt x="11720939" y="730084"/>
                </a:lnTo>
                <a:cubicBezTo>
                  <a:pt x="11692786" y="742752"/>
                  <a:pt x="11649150" y="758237"/>
                  <a:pt x="11639295" y="789205"/>
                </a:cubicBezTo>
                <a:cubicBezTo>
                  <a:pt x="11636480" y="794834"/>
                  <a:pt x="11636480" y="801873"/>
                  <a:pt x="11636480" y="810319"/>
                </a:cubicBezTo>
                <a:cubicBezTo>
                  <a:pt x="11636480" y="813134"/>
                  <a:pt x="11636480" y="815949"/>
                  <a:pt x="11636480" y="820172"/>
                </a:cubicBezTo>
                <a:cubicBezTo>
                  <a:pt x="11636480" y="855362"/>
                  <a:pt x="11619588" y="876477"/>
                  <a:pt x="11609736" y="886330"/>
                </a:cubicBezTo>
                <a:cubicBezTo>
                  <a:pt x="11599881" y="896184"/>
                  <a:pt x="11590028" y="904628"/>
                  <a:pt x="11582989" y="908852"/>
                </a:cubicBezTo>
                <a:cubicBezTo>
                  <a:pt x="11580176" y="911668"/>
                  <a:pt x="11577361" y="913074"/>
                  <a:pt x="11577361" y="914483"/>
                </a:cubicBezTo>
                <a:cubicBezTo>
                  <a:pt x="11577361" y="914483"/>
                  <a:pt x="11574544" y="917298"/>
                  <a:pt x="11571730" y="921520"/>
                </a:cubicBezTo>
                <a:cubicBezTo>
                  <a:pt x="11564691" y="929966"/>
                  <a:pt x="11554838" y="942636"/>
                  <a:pt x="11544984" y="951082"/>
                </a:cubicBezTo>
                <a:cubicBezTo>
                  <a:pt x="11535131" y="960934"/>
                  <a:pt x="11522463" y="969380"/>
                  <a:pt x="11518239" y="969380"/>
                </a:cubicBezTo>
                <a:cubicBezTo>
                  <a:pt x="11516833" y="969380"/>
                  <a:pt x="11516833" y="969380"/>
                  <a:pt x="11516833" y="969380"/>
                </a:cubicBezTo>
                <a:cubicBezTo>
                  <a:pt x="11516833" y="969380"/>
                  <a:pt x="11515424" y="967974"/>
                  <a:pt x="11515424" y="967974"/>
                </a:cubicBezTo>
                <a:cubicBezTo>
                  <a:pt x="11515424" y="965158"/>
                  <a:pt x="11521055" y="958119"/>
                  <a:pt x="11529501" y="946858"/>
                </a:cubicBezTo>
                <a:cubicBezTo>
                  <a:pt x="11539353" y="935597"/>
                  <a:pt x="11543577" y="928559"/>
                  <a:pt x="11543577" y="927151"/>
                </a:cubicBezTo>
                <a:cubicBezTo>
                  <a:pt x="11542168" y="927151"/>
                  <a:pt x="11536538" y="929966"/>
                  <a:pt x="11529501" y="932781"/>
                </a:cubicBezTo>
                <a:cubicBezTo>
                  <a:pt x="11525277" y="934190"/>
                  <a:pt x="11521055" y="937005"/>
                  <a:pt x="11515424" y="939821"/>
                </a:cubicBezTo>
                <a:cubicBezTo>
                  <a:pt x="11495717" y="949673"/>
                  <a:pt x="11453489" y="963750"/>
                  <a:pt x="11447857" y="958119"/>
                </a:cubicBezTo>
                <a:cubicBezTo>
                  <a:pt x="11446450" y="956712"/>
                  <a:pt x="11446450" y="956712"/>
                  <a:pt x="11447857" y="955304"/>
                </a:cubicBezTo>
                <a:cubicBezTo>
                  <a:pt x="11447857" y="952489"/>
                  <a:pt x="11454896" y="949673"/>
                  <a:pt x="11467564" y="942636"/>
                </a:cubicBezTo>
                <a:cubicBezTo>
                  <a:pt x="11488680" y="932781"/>
                  <a:pt x="11521055" y="915891"/>
                  <a:pt x="11528092" y="893369"/>
                </a:cubicBezTo>
                <a:cubicBezTo>
                  <a:pt x="11523870" y="893369"/>
                  <a:pt x="11509794" y="893369"/>
                  <a:pt x="11491495" y="866623"/>
                </a:cubicBezTo>
                <a:cubicBezTo>
                  <a:pt x="11468973" y="832841"/>
                  <a:pt x="11456303" y="801873"/>
                  <a:pt x="11430967" y="801873"/>
                </a:cubicBezTo>
                <a:cubicBezTo>
                  <a:pt x="11401406" y="801873"/>
                  <a:pt x="11339471" y="842694"/>
                  <a:pt x="11316948" y="856770"/>
                </a:cubicBezTo>
                <a:cubicBezTo>
                  <a:pt x="11298650" y="824395"/>
                  <a:pt x="11288796" y="789205"/>
                  <a:pt x="11288796" y="749791"/>
                </a:cubicBezTo>
                <a:cubicBezTo>
                  <a:pt x="11288796" y="628735"/>
                  <a:pt x="11387331" y="530201"/>
                  <a:pt x="11508387" y="530201"/>
                </a:cubicBezTo>
                <a:close/>
                <a:moveTo>
                  <a:pt x="11509794" y="511901"/>
                </a:moveTo>
                <a:cubicBezTo>
                  <a:pt x="11377476" y="511901"/>
                  <a:pt x="11270497" y="618881"/>
                  <a:pt x="11270497" y="751198"/>
                </a:cubicBezTo>
                <a:cubicBezTo>
                  <a:pt x="11270497" y="883515"/>
                  <a:pt x="11377476" y="990494"/>
                  <a:pt x="11509794" y="990494"/>
                </a:cubicBezTo>
                <a:cubicBezTo>
                  <a:pt x="11642111" y="990494"/>
                  <a:pt x="11749090" y="883515"/>
                  <a:pt x="11749090" y="751198"/>
                </a:cubicBezTo>
                <a:cubicBezTo>
                  <a:pt x="11749090" y="618881"/>
                  <a:pt x="11642111" y="511901"/>
                  <a:pt x="11509794" y="511901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7F0C7B-D46B-4175-B952-E7CAEE3A79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2571750"/>
            <a:ext cx="4572000" cy="2571750"/>
          </a:xfrm>
          <a:solidFill>
            <a:schemeClr val="accent1"/>
          </a:solidFill>
        </p:spPr>
        <p:txBody>
          <a:bodyPr vert="horz" lIns="432000" bIns="1908000" anchor="b"/>
          <a:lstStyle>
            <a:lvl1pPr>
              <a:defRPr sz="1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340196ED-A646-4A89-B6A5-E87426DE1E34}"/>
              </a:ext>
            </a:extLst>
          </p:cNvPr>
          <p:cNvSpPr>
            <a:spLocks noGrp="1"/>
          </p:cNvSpPr>
          <p:nvPr>
            <p:ph type="subTitle" idx="18"/>
          </p:nvPr>
        </p:nvSpPr>
        <p:spPr bwMode="white">
          <a:xfrm>
            <a:off x="332185" y="3843300"/>
            <a:ext cx="3969544" cy="276999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800" b="0" i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225"/>
              </a:spcAft>
              <a:buNone/>
              <a:defRPr sz="1800" i="1">
                <a:solidFill>
                  <a:schemeClr val="accent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ABDB9E9-A981-4140-8254-18D2DD0C6D2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First name last name, date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5548FD5F-1814-4985-A149-C0986F94D54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8AD48C63-78A6-4D64-B839-4870EFEB9C1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A178B84-2D78-4435-8DCA-4F4A73A4D4F8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3"/>
            </p:custDataLst>
          </p:nvPr>
        </p:nvSpPr>
        <p:spPr>
          <a:xfrm>
            <a:off x="6724036" y="4885343"/>
            <a:ext cx="1728839" cy="115416"/>
          </a:xfrm>
        </p:spPr>
        <p:txBody>
          <a:bodyPr/>
          <a:lstStyle>
            <a:lvl1pPr algn="r">
              <a:defRPr sz="750" b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Internal confidential  •  Copyright® 202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902989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9FCC3B"/>
          </p15:clr>
        </p15:guide>
        <p15:guide id="2" pos="3840">
          <p15:clr>
            <a:srgbClr val="9FCC3B"/>
          </p15:clr>
        </p15:guide>
        <p15:guide id="3" pos="279">
          <p15:clr>
            <a:srgbClr val="9FCC3B"/>
          </p15:clr>
        </p15:guide>
        <p15:guide id="4" pos="7401">
          <p15:clr>
            <a:srgbClr val="9FCC3B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+Right Picture 50:50 | Color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70D58DD-4FDB-48C8-82B8-8074336D9A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688062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0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70D58DD-4FDB-48C8-82B8-8074336D9A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380ABA34-168B-4881-9178-036E6D0D8602}"/>
              </a:ext>
            </a:extLst>
          </p:cNvPr>
          <p:cNvSpPr/>
          <p:nvPr/>
        </p:nvSpPr>
        <p:spPr>
          <a:xfrm>
            <a:off x="4600254" y="0"/>
            <a:ext cx="4543746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atin typeface="+mn-lt"/>
              <a:ea typeface="+mn-ea"/>
              <a:cs typeface="+mn-cs"/>
            </a:endParaRP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CEF20FC3-ADE0-455E-A881-E50C1A69B2E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  <a:custGeom>
            <a:avLst/>
            <a:gdLst>
              <a:gd name="connsiteX0" fmla="*/ 5520773 w 6096000"/>
              <a:gd name="connsiteY0" fmla="*/ 766683 h 6858000"/>
              <a:gd name="connsiteX1" fmla="*/ 5510920 w 6096000"/>
              <a:gd name="connsiteY1" fmla="*/ 776535 h 6858000"/>
              <a:gd name="connsiteX2" fmla="*/ 5520773 w 6096000"/>
              <a:gd name="connsiteY2" fmla="*/ 786388 h 6858000"/>
              <a:gd name="connsiteX3" fmla="*/ 5530627 w 6096000"/>
              <a:gd name="connsiteY3" fmla="*/ 776535 h 6858000"/>
              <a:gd name="connsiteX4" fmla="*/ 5520773 w 6096000"/>
              <a:gd name="connsiteY4" fmla="*/ 766683 h 6858000"/>
              <a:gd name="connsiteX5" fmla="*/ 5339366 w 6096000"/>
              <a:gd name="connsiteY5" fmla="*/ 690142 h 6858000"/>
              <a:gd name="connsiteX6" fmla="*/ 5354674 w 6096000"/>
              <a:gd name="connsiteY6" fmla="*/ 692078 h 6858000"/>
              <a:gd name="connsiteX7" fmla="*/ 5356081 w 6096000"/>
              <a:gd name="connsiteY7" fmla="*/ 692078 h 6858000"/>
              <a:gd name="connsiteX8" fmla="*/ 5354674 w 6096000"/>
              <a:gd name="connsiteY8" fmla="*/ 693485 h 6858000"/>
              <a:gd name="connsiteX9" fmla="*/ 5334967 w 6096000"/>
              <a:gd name="connsiteY9" fmla="*/ 710377 h 6858000"/>
              <a:gd name="connsiteX10" fmla="*/ 5318075 w 6096000"/>
              <a:gd name="connsiteY10" fmla="*/ 714599 h 6858000"/>
              <a:gd name="connsiteX11" fmla="*/ 5303999 w 6096000"/>
              <a:gd name="connsiteY11" fmla="*/ 711785 h 6858000"/>
              <a:gd name="connsiteX12" fmla="*/ 5320891 w 6096000"/>
              <a:gd name="connsiteY12" fmla="*/ 697709 h 6858000"/>
              <a:gd name="connsiteX13" fmla="*/ 5339366 w 6096000"/>
              <a:gd name="connsiteY13" fmla="*/ 690142 h 6858000"/>
              <a:gd name="connsiteX14" fmla="*/ 5365934 w 6096000"/>
              <a:gd name="connsiteY14" fmla="*/ 609028 h 6858000"/>
              <a:gd name="connsiteX15" fmla="*/ 5378603 w 6096000"/>
              <a:gd name="connsiteY15" fmla="*/ 618881 h 6858000"/>
              <a:gd name="connsiteX16" fmla="*/ 5365934 w 6096000"/>
              <a:gd name="connsiteY16" fmla="*/ 628735 h 6858000"/>
              <a:gd name="connsiteX17" fmla="*/ 5353266 w 6096000"/>
              <a:gd name="connsiteY17" fmla="*/ 618881 h 6858000"/>
              <a:gd name="connsiteX18" fmla="*/ 5365934 w 6096000"/>
              <a:gd name="connsiteY18" fmla="*/ 609028 h 6858000"/>
              <a:gd name="connsiteX19" fmla="*/ 5412387 w 6096000"/>
              <a:gd name="connsiteY19" fmla="*/ 530201 h 6858000"/>
              <a:gd name="connsiteX20" fmla="*/ 5578486 w 6096000"/>
              <a:gd name="connsiteY20" fmla="*/ 606213 h 6858000"/>
              <a:gd name="connsiteX21" fmla="*/ 5582709 w 6096000"/>
              <a:gd name="connsiteY21" fmla="*/ 679408 h 6858000"/>
              <a:gd name="connsiteX22" fmla="*/ 5529219 w 6096000"/>
              <a:gd name="connsiteY22" fmla="*/ 676593 h 6858000"/>
              <a:gd name="connsiteX23" fmla="*/ 5533443 w 6096000"/>
              <a:gd name="connsiteY23" fmla="*/ 666741 h 6858000"/>
              <a:gd name="connsiteX24" fmla="*/ 5540480 w 6096000"/>
              <a:gd name="connsiteY24" fmla="*/ 665332 h 6858000"/>
              <a:gd name="connsiteX25" fmla="*/ 5541888 w 6096000"/>
              <a:gd name="connsiteY25" fmla="*/ 661110 h 6858000"/>
              <a:gd name="connsiteX26" fmla="*/ 5524997 w 6096000"/>
              <a:gd name="connsiteY26" fmla="*/ 655479 h 6858000"/>
              <a:gd name="connsiteX27" fmla="*/ 5503881 w 6096000"/>
              <a:gd name="connsiteY27" fmla="*/ 656888 h 6858000"/>
              <a:gd name="connsiteX28" fmla="*/ 5495435 w 6096000"/>
              <a:gd name="connsiteY28" fmla="*/ 654071 h 6858000"/>
              <a:gd name="connsiteX29" fmla="*/ 5492620 w 6096000"/>
              <a:gd name="connsiteY29" fmla="*/ 649849 h 6858000"/>
              <a:gd name="connsiteX30" fmla="*/ 5495435 w 6096000"/>
              <a:gd name="connsiteY30" fmla="*/ 641403 h 6858000"/>
              <a:gd name="connsiteX31" fmla="*/ 5503881 w 6096000"/>
              <a:gd name="connsiteY31" fmla="*/ 639996 h 6858000"/>
              <a:gd name="connsiteX32" fmla="*/ 5505290 w 6096000"/>
              <a:gd name="connsiteY32" fmla="*/ 635772 h 6858000"/>
              <a:gd name="connsiteX33" fmla="*/ 5488398 w 6096000"/>
              <a:gd name="connsiteY33" fmla="*/ 630142 h 6858000"/>
              <a:gd name="connsiteX34" fmla="*/ 5467284 w 6096000"/>
              <a:gd name="connsiteY34" fmla="*/ 631550 h 6858000"/>
              <a:gd name="connsiteX35" fmla="*/ 5458838 w 6096000"/>
              <a:gd name="connsiteY35" fmla="*/ 628735 h 6858000"/>
              <a:gd name="connsiteX36" fmla="*/ 5456023 w 6096000"/>
              <a:gd name="connsiteY36" fmla="*/ 624511 h 6858000"/>
              <a:gd name="connsiteX37" fmla="*/ 5458838 w 6096000"/>
              <a:gd name="connsiteY37" fmla="*/ 614659 h 6858000"/>
              <a:gd name="connsiteX38" fmla="*/ 5467284 w 6096000"/>
              <a:gd name="connsiteY38" fmla="*/ 613250 h 6858000"/>
              <a:gd name="connsiteX39" fmla="*/ 5468691 w 6096000"/>
              <a:gd name="connsiteY39" fmla="*/ 609028 h 6858000"/>
              <a:gd name="connsiteX40" fmla="*/ 5451799 w 6096000"/>
              <a:gd name="connsiteY40" fmla="*/ 603397 h 6858000"/>
              <a:gd name="connsiteX41" fmla="*/ 5430685 w 6096000"/>
              <a:gd name="connsiteY41" fmla="*/ 604804 h 6858000"/>
              <a:gd name="connsiteX42" fmla="*/ 5426463 w 6096000"/>
              <a:gd name="connsiteY42" fmla="*/ 603397 h 6858000"/>
              <a:gd name="connsiteX43" fmla="*/ 5425055 w 6096000"/>
              <a:gd name="connsiteY43" fmla="*/ 600582 h 6858000"/>
              <a:gd name="connsiteX44" fmla="*/ 5426463 w 6096000"/>
              <a:gd name="connsiteY44" fmla="*/ 593545 h 6858000"/>
              <a:gd name="connsiteX45" fmla="*/ 5427870 w 6096000"/>
              <a:gd name="connsiteY45" fmla="*/ 573836 h 6858000"/>
              <a:gd name="connsiteX46" fmla="*/ 5415200 w 6096000"/>
              <a:gd name="connsiteY46" fmla="*/ 551315 h 6858000"/>
              <a:gd name="connsiteX47" fmla="*/ 5410978 w 6096000"/>
              <a:gd name="connsiteY47" fmla="*/ 549907 h 6858000"/>
              <a:gd name="connsiteX48" fmla="*/ 5409571 w 6096000"/>
              <a:gd name="connsiteY48" fmla="*/ 555537 h 6858000"/>
              <a:gd name="connsiteX49" fmla="*/ 5384234 w 6096000"/>
              <a:gd name="connsiteY49" fmla="*/ 589321 h 6858000"/>
              <a:gd name="connsiteX50" fmla="*/ 5375788 w 6096000"/>
              <a:gd name="connsiteY50" fmla="*/ 589321 h 6858000"/>
              <a:gd name="connsiteX51" fmla="*/ 5370157 w 6096000"/>
              <a:gd name="connsiteY51" fmla="*/ 589321 h 6858000"/>
              <a:gd name="connsiteX52" fmla="*/ 5367342 w 6096000"/>
              <a:gd name="connsiteY52" fmla="*/ 589321 h 6858000"/>
              <a:gd name="connsiteX53" fmla="*/ 5361711 w 6096000"/>
              <a:gd name="connsiteY53" fmla="*/ 589321 h 6858000"/>
              <a:gd name="connsiteX54" fmla="*/ 5353266 w 6096000"/>
              <a:gd name="connsiteY54" fmla="*/ 590728 h 6858000"/>
              <a:gd name="connsiteX55" fmla="*/ 5333558 w 6096000"/>
              <a:gd name="connsiteY55" fmla="*/ 610435 h 6858000"/>
              <a:gd name="connsiteX56" fmla="*/ 5333558 w 6096000"/>
              <a:gd name="connsiteY56" fmla="*/ 613250 h 6858000"/>
              <a:gd name="connsiteX57" fmla="*/ 5330743 w 6096000"/>
              <a:gd name="connsiteY57" fmla="*/ 617474 h 6858000"/>
              <a:gd name="connsiteX58" fmla="*/ 5319482 w 6096000"/>
              <a:gd name="connsiteY58" fmla="*/ 618881 h 6858000"/>
              <a:gd name="connsiteX59" fmla="*/ 5277254 w 6096000"/>
              <a:gd name="connsiteY59" fmla="*/ 607619 h 6858000"/>
              <a:gd name="connsiteX60" fmla="*/ 5274439 w 6096000"/>
              <a:gd name="connsiteY60" fmla="*/ 606213 h 6858000"/>
              <a:gd name="connsiteX61" fmla="*/ 5273031 w 6096000"/>
              <a:gd name="connsiteY61" fmla="*/ 607619 h 6858000"/>
              <a:gd name="connsiteX62" fmla="*/ 5261769 w 6096000"/>
              <a:gd name="connsiteY62" fmla="*/ 637181 h 6858000"/>
              <a:gd name="connsiteX63" fmla="*/ 5281476 w 6096000"/>
              <a:gd name="connsiteY63" fmla="*/ 673778 h 6858000"/>
              <a:gd name="connsiteX64" fmla="*/ 5288514 w 6096000"/>
              <a:gd name="connsiteY64" fmla="*/ 678002 h 6858000"/>
              <a:gd name="connsiteX65" fmla="*/ 5288514 w 6096000"/>
              <a:gd name="connsiteY65" fmla="*/ 675186 h 6858000"/>
              <a:gd name="connsiteX66" fmla="*/ 5291331 w 6096000"/>
              <a:gd name="connsiteY66" fmla="*/ 665332 h 6858000"/>
              <a:gd name="connsiteX67" fmla="*/ 5309629 w 6096000"/>
              <a:gd name="connsiteY67" fmla="*/ 661110 h 6858000"/>
              <a:gd name="connsiteX68" fmla="*/ 5311036 w 6096000"/>
              <a:gd name="connsiteY68" fmla="*/ 662517 h 6858000"/>
              <a:gd name="connsiteX69" fmla="*/ 5323706 w 6096000"/>
              <a:gd name="connsiteY69" fmla="*/ 666741 h 6858000"/>
              <a:gd name="connsiteX70" fmla="*/ 5336374 w 6096000"/>
              <a:gd name="connsiteY70" fmla="*/ 662517 h 6858000"/>
              <a:gd name="connsiteX71" fmla="*/ 5354674 w 6096000"/>
              <a:gd name="connsiteY71" fmla="*/ 662517 h 6858000"/>
              <a:gd name="connsiteX72" fmla="*/ 5357489 w 6096000"/>
              <a:gd name="connsiteY72" fmla="*/ 678002 h 6858000"/>
              <a:gd name="connsiteX73" fmla="*/ 5357489 w 6096000"/>
              <a:gd name="connsiteY73" fmla="*/ 679408 h 6858000"/>
              <a:gd name="connsiteX74" fmla="*/ 5356081 w 6096000"/>
              <a:gd name="connsiteY74" fmla="*/ 679408 h 6858000"/>
              <a:gd name="connsiteX75" fmla="*/ 5322297 w 6096000"/>
              <a:gd name="connsiteY75" fmla="*/ 676593 h 6858000"/>
              <a:gd name="connsiteX76" fmla="*/ 5302590 w 6096000"/>
              <a:gd name="connsiteY76" fmla="*/ 685039 h 6858000"/>
              <a:gd name="connsiteX77" fmla="*/ 5268808 w 6096000"/>
              <a:gd name="connsiteY77" fmla="*/ 692078 h 6858000"/>
              <a:gd name="connsiteX78" fmla="*/ 5247693 w 6096000"/>
              <a:gd name="connsiteY78" fmla="*/ 672371 h 6858000"/>
              <a:gd name="connsiteX79" fmla="*/ 5246286 w 6096000"/>
              <a:gd name="connsiteY79" fmla="*/ 669556 h 6858000"/>
              <a:gd name="connsiteX80" fmla="*/ 5244878 w 6096000"/>
              <a:gd name="connsiteY80" fmla="*/ 673778 h 6858000"/>
              <a:gd name="connsiteX81" fmla="*/ 5253323 w 6096000"/>
              <a:gd name="connsiteY81" fmla="*/ 707561 h 6858000"/>
              <a:gd name="connsiteX82" fmla="*/ 5294146 w 6096000"/>
              <a:gd name="connsiteY82" fmla="*/ 713192 h 6858000"/>
              <a:gd name="connsiteX83" fmla="*/ 5295553 w 6096000"/>
              <a:gd name="connsiteY83" fmla="*/ 711785 h 6858000"/>
              <a:gd name="connsiteX84" fmla="*/ 5295553 w 6096000"/>
              <a:gd name="connsiteY84" fmla="*/ 713192 h 6858000"/>
              <a:gd name="connsiteX85" fmla="*/ 5299775 w 6096000"/>
              <a:gd name="connsiteY85" fmla="*/ 727269 h 6858000"/>
              <a:gd name="connsiteX86" fmla="*/ 5318075 w 6096000"/>
              <a:gd name="connsiteY86" fmla="*/ 739936 h 6858000"/>
              <a:gd name="connsiteX87" fmla="*/ 5340598 w 6096000"/>
              <a:gd name="connsiteY87" fmla="*/ 730084 h 6858000"/>
              <a:gd name="connsiteX88" fmla="*/ 5388456 w 6096000"/>
              <a:gd name="connsiteY88" fmla="*/ 713192 h 6858000"/>
              <a:gd name="connsiteX89" fmla="*/ 5456023 w 6096000"/>
              <a:gd name="connsiteY89" fmla="*/ 786388 h 6858000"/>
              <a:gd name="connsiteX90" fmla="*/ 5461654 w 6096000"/>
              <a:gd name="connsiteY90" fmla="*/ 796242 h 6858000"/>
              <a:gd name="connsiteX91" fmla="*/ 5461654 w 6096000"/>
              <a:gd name="connsiteY91" fmla="*/ 797649 h 6858000"/>
              <a:gd name="connsiteX92" fmla="*/ 5467284 w 6096000"/>
              <a:gd name="connsiteY92" fmla="*/ 801873 h 6858000"/>
              <a:gd name="connsiteX93" fmla="*/ 5470099 w 6096000"/>
              <a:gd name="connsiteY93" fmla="*/ 797649 h 6858000"/>
              <a:gd name="connsiteX94" fmla="*/ 5499659 w 6096000"/>
              <a:gd name="connsiteY94" fmla="*/ 758237 h 6858000"/>
              <a:gd name="connsiteX95" fmla="*/ 5526404 w 6096000"/>
              <a:gd name="connsiteY95" fmla="*/ 754013 h 6858000"/>
              <a:gd name="connsiteX96" fmla="*/ 5529219 w 6096000"/>
              <a:gd name="connsiteY96" fmla="*/ 754013 h 6858000"/>
              <a:gd name="connsiteX97" fmla="*/ 5554556 w 6096000"/>
              <a:gd name="connsiteY97" fmla="*/ 744160 h 6858000"/>
              <a:gd name="connsiteX98" fmla="*/ 5622122 w 6096000"/>
              <a:gd name="connsiteY98" fmla="*/ 718823 h 6858000"/>
              <a:gd name="connsiteX99" fmla="*/ 5631976 w 6096000"/>
              <a:gd name="connsiteY99" fmla="*/ 721638 h 6858000"/>
              <a:gd name="connsiteX100" fmla="*/ 5629161 w 6096000"/>
              <a:gd name="connsiteY100" fmla="*/ 728675 h 6858000"/>
              <a:gd name="connsiteX101" fmla="*/ 5624939 w 6096000"/>
              <a:gd name="connsiteY101" fmla="*/ 730084 h 6858000"/>
              <a:gd name="connsiteX102" fmla="*/ 5543295 w 6096000"/>
              <a:gd name="connsiteY102" fmla="*/ 789205 h 6858000"/>
              <a:gd name="connsiteX103" fmla="*/ 5540480 w 6096000"/>
              <a:gd name="connsiteY103" fmla="*/ 810319 h 6858000"/>
              <a:gd name="connsiteX104" fmla="*/ 5540480 w 6096000"/>
              <a:gd name="connsiteY104" fmla="*/ 820172 h 6858000"/>
              <a:gd name="connsiteX105" fmla="*/ 5513736 w 6096000"/>
              <a:gd name="connsiteY105" fmla="*/ 886330 h 6858000"/>
              <a:gd name="connsiteX106" fmla="*/ 5486989 w 6096000"/>
              <a:gd name="connsiteY106" fmla="*/ 908852 h 6858000"/>
              <a:gd name="connsiteX107" fmla="*/ 5481361 w 6096000"/>
              <a:gd name="connsiteY107" fmla="*/ 914483 h 6858000"/>
              <a:gd name="connsiteX108" fmla="*/ 5475730 w 6096000"/>
              <a:gd name="connsiteY108" fmla="*/ 921520 h 6858000"/>
              <a:gd name="connsiteX109" fmla="*/ 5448984 w 6096000"/>
              <a:gd name="connsiteY109" fmla="*/ 951082 h 6858000"/>
              <a:gd name="connsiteX110" fmla="*/ 5422239 w 6096000"/>
              <a:gd name="connsiteY110" fmla="*/ 969380 h 6858000"/>
              <a:gd name="connsiteX111" fmla="*/ 5420833 w 6096000"/>
              <a:gd name="connsiteY111" fmla="*/ 969380 h 6858000"/>
              <a:gd name="connsiteX112" fmla="*/ 5419424 w 6096000"/>
              <a:gd name="connsiteY112" fmla="*/ 967974 h 6858000"/>
              <a:gd name="connsiteX113" fmla="*/ 5433501 w 6096000"/>
              <a:gd name="connsiteY113" fmla="*/ 946858 h 6858000"/>
              <a:gd name="connsiteX114" fmla="*/ 5447577 w 6096000"/>
              <a:gd name="connsiteY114" fmla="*/ 927151 h 6858000"/>
              <a:gd name="connsiteX115" fmla="*/ 5433501 w 6096000"/>
              <a:gd name="connsiteY115" fmla="*/ 932781 h 6858000"/>
              <a:gd name="connsiteX116" fmla="*/ 5419424 w 6096000"/>
              <a:gd name="connsiteY116" fmla="*/ 939821 h 6858000"/>
              <a:gd name="connsiteX117" fmla="*/ 5351857 w 6096000"/>
              <a:gd name="connsiteY117" fmla="*/ 958119 h 6858000"/>
              <a:gd name="connsiteX118" fmla="*/ 5351857 w 6096000"/>
              <a:gd name="connsiteY118" fmla="*/ 955304 h 6858000"/>
              <a:gd name="connsiteX119" fmla="*/ 5371564 w 6096000"/>
              <a:gd name="connsiteY119" fmla="*/ 942636 h 6858000"/>
              <a:gd name="connsiteX120" fmla="*/ 5432092 w 6096000"/>
              <a:gd name="connsiteY120" fmla="*/ 893369 h 6858000"/>
              <a:gd name="connsiteX121" fmla="*/ 5395495 w 6096000"/>
              <a:gd name="connsiteY121" fmla="*/ 866623 h 6858000"/>
              <a:gd name="connsiteX122" fmla="*/ 5334967 w 6096000"/>
              <a:gd name="connsiteY122" fmla="*/ 801873 h 6858000"/>
              <a:gd name="connsiteX123" fmla="*/ 5220948 w 6096000"/>
              <a:gd name="connsiteY123" fmla="*/ 856770 h 6858000"/>
              <a:gd name="connsiteX124" fmla="*/ 5192796 w 6096000"/>
              <a:gd name="connsiteY124" fmla="*/ 749791 h 6858000"/>
              <a:gd name="connsiteX125" fmla="*/ 5412387 w 6096000"/>
              <a:gd name="connsiteY125" fmla="*/ 530201 h 6858000"/>
              <a:gd name="connsiteX126" fmla="*/ 5413794 w 6096000"/>
              <a:gd name="connsiteY126" fmla="*/ 511901 h 6858000"/>
              <a:gd name="connsiteX127" fmla="*/ 5174497 w 6096000"/>
              <a:gd name="connsiteY127" fmla="*/ 751198 h 6858000"/>
              <a:gd name="connsiteX128" fmla="*/ 5413794 w 6096000"/>
              <a:gd name="connsiteY128" fmla="*/ 990494 h 6858000"/>
              <a:gd name="connsiteX129" fmla="*/ 5653090 w 6096000"/>
              <a:gd name="connsiteY129" fmla="*/ 751198 h 6858000"/>
              <a:gd name="connsiteX130" fmla="*/ 5413794 w 6096000"/>
              <a:gd name="connsiteY130" fmla="*/ 511901 h 6858000"/>
              <a:gd name="connsiteX131" fmla="*/ 0 w 6096000"/>
              <a:gd name="connsiteY131" fmla="*/ 0 h 6858000"/>
              <a:gd name="connsiteX132" fmla="*/ 6096000 w 6096000"/>
              <a:gd name="connsiteY132" fmla="*/ 0 h 6858000"/>
              <a:gd name="connsiteX133" fmla="*/ 6096000 w 6096000"/>
              <a:gd name="connsiteY133" fmla="*/ 6858000 h 6858000"/>
              <a:gd name="connsiteX134" fmla="*/ 0 w 6096000"/>
              <a:gd name="connsiteY13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</a:cxnLst>
            <a:rect l="l" t="t" r="r" b="b"/>
            <a:pathLst>
              <a:path w="6096000" h="6858000">
                <a:moveTo>
                  <a:pt x="5520773" y="766683"/>
                </a:moveTo>
                <a:cubicBezTo>
                  <a:pt x="5515142" y="766683"/>
                  <a:pt x="5510920" y="770905"/>
                  <a:pt x="5510920" y="776535"/>
                </a:cubicBezTo>
                <a:cubicBezTo>
                  <a:pt x="5510920" y="782166"/>
                  <a:pt x="5515142" y="786388"/>
                  <a:pt x="5520773" y="786388"/>
                </a:cubicBezTo>
                <a:cubicBezTo>
                  <a:pt x="5526404" y="784981"/>
                  <a:pt x="5530627" y="780759"/>
                  <a:pt x="5530627" y="776535"/>
                </a:cubicBezTo>
                <a:cubicBezTo>
                  <a:pt x="5530627" y="770905"/>
                  <a:pt x="5526404" y="766683"/>
                  <a:pt x="5520773" y="766683"/>
                </a:cubicBezTo>
                <a:close/>
                <a:moveTo>
                  <a:pt x="5339366" y="690142"/>
                </a:moveTo>
                <a:cubicBezTo>
                  <a:pt x="5344820" y="689262"/>
                  <a:pt x="5349747" y="689966"/>
                  <a:pt x="5354674" y="692078"/>
                </a:cubicBezTo>
                <a:lnTo>
                  <a:pt x="5356081" y="692078"/>
                </a:lnTo>
                <a:cubicBezTo>
                  <a:pt x="5356081" y="692078"/>
                  <a:pt x="5356081" y="693485"/>
                  <a:pt x="5354674" y="693485"/>
                </a:cubicBezTo>
                <a:cubicBezTo>
                  <a:pt x="5351857" y="699116"/>
                  <a:pt x="5346228" y="706155"/>
                  <a:pt x="5334967" y="710377"/>
                </a:cubicBezTo>
                <a:cubicBezTo>
                  <a:pt x="5327928" y="713192"/>
                  <a:pt x="5323706" y="714599"/>
                  <a:pt x="5318075" y="714599"/>
                </a:cubicBezTo>
                <a:cubicBezTo>
                  <a:pt x="5311036" y="714599"/>
                  <a:pt x="5305406" y="713192"/>
                  <a:pt x="5303999" y="711785"/>
                </a:cubicBezTo>
                <a:cubicBezTo>
                  <a:pt x="5303999" y="711785"/>
                  <a:pt x="5311036" y="704746"/>
                  <a:pt x="5320891" y="697709"/>
                </a:cubicBezTo>
                <a:cubicBezTo>
                  <a:pt x="5327929" y="693486"/>
                  <a:pt x="5333911" y="691022"/>
                  <a:pt x="5339366" y="690142"/>
                </a:cubicBezTo>
                <a:close/>
                <a:moveTo>
                  <a:pt x="5365934" y="609028"/>
                </a:moveTo>
                <a:cubicBezTo>
                  <a:pt x="5372973" y="609028"/>
                  <a:pt x="5378603" y="613250"/>
                  <a:pt x="5378603" y="618881"/>
                </a:cubicBezTo>
                <a:cubicBezTo>
                  <a:pt x="5378603" y="624511"/>
                  <a:pt x="5372973" y="628735"/>
                  <a:pt x="5365934" y="628735"/>
                </a:cubicBezTo>
                <a:cubicBezTo>
                  <a:pt x="5358896" y="628735"/>
                  <a:pt x="5353266" y="624511"/>
                  <a:pt x="5353266" y="618881"/>
                </a:cubicBezTo>
                <a:cubicBezTo>
                  <a:pt x="5353266" y="613250"/>
                  <a:pt x="5358896" y="609028"/>
                  <a:pt x="5365934" y="609028"/>
                </a:cubicBezTo>
                <a:close/>
                <a:moveTo>
                  <a:pt x="5412387" y="530201"/>
                </a:moveTo>
                <a:cubicBezTo>
                  <a:pt x="5478544" y="530201"/>
                  <a:pt x="5537665" y="559761"/>
                  <a:pt x="5578486" y="606213"/>
                </a:cubicBezTo>
                <a:cubicBezTo>
                  <a:pt x="5603823" y="638588"/>
                  <a:pt x="5599601" y="665332"/>
                  <a:pt x="5582709" y="679408"/>
                </a:cubicBezTo>
                <a:cubicBezTo>
                  <a:pt x="5561596" y="694893"/>
                  <a:pt x="5533443" y="689263"/>
                  <a:pt x="5529219" y="676593"/>
                </a:cubicBezTo>
                <a:cubicBezTo>
                  <a:pt x="5527812" y="669556"/>
                  <a:pt x="5533443" y="666741"/>
                  <a:pt x="5533443" y="666741"/>
                </a:cubicBezTo>
                <a:cubicBezTo>
                  <a:pt x="5534849" y="665332"/>
                  <a:pt x="5537665" y="665332"/>
                  <a:pt x="5540480" y="665332"/>
                </a:cubicBezTo>
                <a:cubicBezTo>
                  <a:pt x="5544704" y="665332"/>
                  <a:pt x="5544704" y="662517"/>
                  <a:pt x="5541888" y="661110"/>
                </a:cubicBezTo>
                <a:cubicBezTo>
                  <a:pt x="5537665" y="658295"/>
                  <a:pt x="5530627" y="655479"/>
                  <a:pt x="5524997" y="655479"/>
                </a:cubicBezTo>
                <a:cubicBezTo>
                  <a:pt x="5516551" y="655479"/>
                  <a:pt x="5503881" y="656888"/>
                  <a:pt x="5503881" y="656888"/>
                </a:cubicBezTo>
                <a:cubicBezTo>
                  <a:pt x="5501066" y="656888"/>
                  <a:pt x="5498252" y="655479"/>
                  <a:pt x="5495435" y="654071"/>
                </a:cubicBezTo>
                <a:cubicBezTo>
                  <a:pt x="5494028" y="652664"/>
                  <a:pt x="5492620" y="651256"/>
                  <a:pt x="5492620" y="649849"/>
                </a:cubicBezTo>
                <a:cubicBezTo>
                  <a:pt x="5491213" y="642811"/>
                  <a:pt x="5495435" y="641403"/>
                  <a:pt x="5495435" y="641403"/>
                </a:cubicBezTo>
                <a:cubicBezTo>
                  <a:pt x="5496844" y="639996"/>
                  <a:pt x="5501066" y="638588"/>
                  <a:pt x="5503881" y="639996"/>
                </a:cubicBezTo>
                <a:cubicBezTo>
                  <a:pt x="5508105" y="639996"/>
                  <a:pt x="5508105" y="637181"/>
                  <a:pt x="5505290" y="635772"/>
                </a:cubicBezTo>
                <a:cubicBezTo>
                  <a:pt x="5501066" y="632957"/>
                  <a:pt x="5494028" y="630142"/>
                  <a:pt x="5488398" y="630142"/>
                </a:cubicBezTo>
                <a:cubicBezTo>
                  <a:pt x="5479952" y="630142"/>
                  <a:pt x="5467284" y="631550"/>
                  <a:pt x="5467284" y="631550"/>
                </a:cubicBezTo>
                <a:cubicBezTo>
                  <a:pt x="5464469" y="631550"/>
                  <a:pt x="5461654" y="630142"/>
                  <a:pt x="5458838" y="628735"/>
                </a:cubicBezTo>
                <a:cubicBezTo>
                  <a:pt x="5457430" y="627326"/>
                  <a:pt x="5456023" y="625920"/>
                  <a:pt x="5456023" y="624511"/>
                </a:cubicBezTo>
                <a:cubicBezTo>
                  <a:pt x="5454614" y="617474"/>
                  <a:pt x="5458838" y="614659"/>
                  <a:pt x="5458838" y="614659"/>
                </a:cubicBezTo>
                <a:cubicBezTo>
                  <a:pt x="5460245" y="613250"/>
                  <a:pt x="5463060" y="611843"/>
                  <a:pt x="5467284" y="613250"/>
                </a:cubicBezTo>
                <a:cubicBezTo>
                  <a:pt x="5471506" y="613250"/>
                  <a:pt x="5471506" y="610435"/>
                  <a:pt x="5468691" y="609028"/>
                </a:cubicBezTo>
                <a:cubicBezTo>
                  <a:pt x="5464469" y="606213"/>
                  <a:pt x="5457430" y="603397"/>
                  <a:pt x="5451799" y="603397"/>
                </a:cubicBezTo>
                <a:cubicBezTo>
                  <a:pt x="5443353" y="603397"/>
                  <a:pt x="5430685" y="604804"/>
                  <a:pt x="5430685" y="604804"/>
                </a:cubicBezTo>
                <a:cubicBezTo>
                  <a:pt x="5429277" y="604804"/>
                  <a:pt x="5426463" y="604804"/>
                  <a:pt x="5426463" y="603397"/>
                </a:cubicBezTo>
                <a:cubicBezTo>
                  <a:pt x="5425055" y="601989"/>
                  <a:pt x="5425055" y="601989"/>
                  <a:pt x="5425055" y="600582"/>
                </a:cubicBezTo>
                <a:cubicBezTo>
                  <a:pt x="5425055" y="599174"/>
                  <a:pt x="5425055" y="596358"/>
                  <a:pt x="5426463" y="593545"/>
                </a:cubicBezTo>
                <a:cubicBezTo>
                  <a:pt x="5427870" y="587912"/>
                  <a:pt x="5429277" y="582282"/>
                  <a:pt x="5427870" y="573836"/>
                </a:cubicBezTo>
                <a:cubicBezTo>
                  <a:pt x="5426463" y="558353"/>
                  <a:pt x="5418017" y="552722"/>
                  <a:pt x="5415200" y="551315"/>
                </a:cubicBezTo>
                <a:cubicBezTo>
                  <a:pt x="5412387" y="549907"/>
                  <a:pt x="5410978" y="549907"/>
                  <a:pt x="5410978" y="549907"/>
                </a:cubicBezTo>
                <a:cubicBezTo>
                  <a:pt x="5410978" y="549907"/>
                  <a:pt x="5409571" y="552722"/>
                  <a:pt x="5409571" y="555537"/>
                </a:cubicBezTo>
                <a:cubicBezTo>
                  <a:pt x="5408163" y="566799"/>
                  <a:pt x="5406756" y="589321"/>
                  <a:pt x="5384234" y="589321"/>
                </a:cubicBezTo>
                <a:cubicBezTo>
                  <a:pt x="5381418" y="589321"/>
                  <a:pt x="5378603" y="589321"/>
                  <a:pt x="5375788" y="589321"/>
                </a:cubicBezTo>
                <a:cubicBezTo>
                  <a:pt x="5374379" y="589321"/>
                  <a:pt x="5371564" y="589321"/>
                  <a:pt x="5370157" y="589321"/>
                </a:cubicBezTo>
                <a:cubicBezTo>
                  <a:pt x="5368749" y="589321"/>
                  <a:pt x="5368749" y="589321"/>
                  <a:pt x="5367342" y="589321"/>
                </a:cubicBezTo>
                <a:cubicBezTo>
                  <a:pt x="5365934" y="589321"/>
                  <a:pt x="5363120" y="589321"/>
                  <a:pt x="5361711" y="589321"/>
                </a:cubicBezTo>
                <a:cubicBezTo>
                  <a:pt x="5358896" y="589321"/>
                  <a:pt x="5356081" y="589321"/>
                  <a:pt x="5353266" y="590728"/>
                </a:cubicBezTo>
                <a:cubicBezTo>
                  <a:pt x="5342004" y="593545"/>
                  <a:pt x="5334967" y="600582"/>
                  <a:pt x="5333558" y="610435"/>
                </a:cubicBezTo>
                <a:cubicBezTo>
                  <a:pt x="5333558" y="611843"/>
                  <a:pt x="5333558" y="611843"/>
                  <a:pt x="5333558" y="613250"/>
                </a:cubicBezTo>
                <a:cubicBezTo>
                  <a:pt x="5333558" y="614659"/>
                  <a:pt x="5333558" y="617474"/>
                  <a:pt x="5330743" y="617474"/>
                </a:cubicBezTo>
                <a:cubicBezTo>
                  <a:pt x="5330743" y="617474"/>
                  <a:pt x="5326521" y="618881"/>
                  <a:pt x="5319482" y="618881"/>
                </a:cubicBezTo>
                <a:cubicBezTo>
                  <a:pt x="5294146" y="621696"/>
                  <a:pt x="5284292" y="611843"/>
                  <a:pt x="5277254" y="607619"/>
                </a:cubicBezTo>
                <a:cubicBezTo>
                  <a:pt x="5275846" y="607619"/>
                  <a:pt x="5274439" y="606213"/>
                  <a:pt x="5274439" y="606213"/>
                </a:cubicBezTo>
                <a:cubicBezTo>
                  <a:pt x="5274439" y="606213"/>
                  <a:pt x="5274439" y="606213"/>
                  <a:pt x="5273031" y="607619"/>
                </a:cubicBezTo>
                <a:cubicBezTo>
                  <a:pt x="5268808" y="611843"/>
                  <a:pt x="5261769" y="624511"/>
                  <a:pt x="5261769" y="637181"/>
                </a:cubicBezTo>
                <a:cubicBezTo>
                  <a:pt x="5263178" y="658295"/>
                  <a:pt x="5277254" y="670963"/>
                  <a:pt x="5281476" y="673778"/>
                </a:cubicBezTo>
                <a:cubicBezTo>
                  <a:pt x="5285700" y="676593"/>
                  <a:pt x="5288514" y="678002"/>
                  <a:pt x="5288514" y="678002"/>
                </a:cubicBezTo>
                <a:cubicBezTo>
                  <a:pt x="5288514" y="678002"/>
                  <a:pt x="5288514" y="676593"/>
                  <a:pt x="5288514" y="675186"/>
                </a:cubicBezTo>
                <a:cubicBezTo>
                  <a:pt x="5288514" y="672371"/>
                  <a:pt x="5288514" y="669556"/>
                  <a:pt x="5291331" y="665332"/>
                </a:cubicBezTo>
                <a:cubicBezTo>
                  <a:pt x="5296960" y="655479"/>
                  <a:pt x="5305406" y="659701"/>
                  <a:pt x="5309629" y="661110"/>
                </a:cubicBezTo>
                <a:cubicBezTo>
                  <a:pt x="5311036" y="661110"/>
                  <a:pt x="5311036" y="661110"/>
                  <a:pt x="5311036" y="662517"/>
                </a:cubicBezTo>
                <a:cubicBezTo>
                  <a:pt x="5315260" y="663925"/>
                  <a:pt x="5319482" y="666741"/>
                  <a:pt x="5323706" y="666741"/>
                </a:cubicBezTo>
                <a:cubicBezTo>
                  <a:pt x="5327928" y="666741"/>
                  <a:pt x="5333558" y="663925"/>
                  <a:pt x="5336374" y="662517"/>
                </a:cubicBezTo>
                <a:cubicBezTo>
                  <a:pt x="5343413" y="659701"/>
                  <a:pt x="5350450" y="658295"/>
                  <a:pt x="5354674" y="662517"/>
                </a:cubicBezTo>
                <a:cubicBezTo>
                  <a:pt x="5358896" y="666741"/>
                  <a:pt x="5357489" y="676593"/>
                  <a:pt x="5357489" y="678002"/>
                </a:cubicBezTo>
                <a:lnTo>
                  <a:pt x="5357489" y="679408"/>
                </a:lnTo>
                <a:lnTo>
                  <a:pt x="5356081" y="679408"/>
                </a:lnTo>
                <a:cubicBezTo>
                  <a:pt x="5340598" y="673778"/>
                  <a:pt x="5334967" y="675186"/>
                  <a:pt x="5322297" y="676593"/>
                </a:cubicBezTo>
                <a:cubicBezTo>
                  <a:pt x="5315260" y="678002"/>
                  <a:pt x="5308221" y="682224"/>
                  <a:pt x="5302590" y="685039"/>
                </a:cubicBezTo>
                <a:cubicBezTo>
                  <a:pt x="5289922" y="692078"/>
                  <a:pt x="5284292" y="697709"/>
                  <a:pt x="5268808" y="692078"/>
                </a:cubicBezTo>
                <a:cubicBezTo>
                  <a:pt x="5254732" y="686448"/>
                  <a:pt x="5250508" y="678002"/>
                  <a:pt x="5247693" y="672371"/>
                </a:cubicBezTo>
                <a:cubicBezTo>
                  <a:pt x="5246286" y="670963"/>
                  <a:pt x="5246286" y="669556"/>
                  <a:pt x="5246286" y="669556"/>
                </a:cubicBezTo>
                <a:cubicBezTo>
                  <a:pt x="5246286" y="669556"/>
                  <a:pt x="5244878" y="670963"/>
                  <a:pt x="5244878" y="673778"/>
                </a:cubicBezTo>
                <a:cubicBezTo>
                  <a:pt x="5242062" y="680817"/>
                  <a:pt x="5242062" y="694893"/>
                  <a:pt x="5253323" y="707561"/>
                </a:cubicBezTo>
                <a:cubicBezTo>
                  <a:pt x="5268808" y="725860"/>
                  <a:pt x="5284292" y="718823"/>
                  <a:pt x="5294146" y="713192"/>
                </a:cubicBezTo>
                <a:lnTo>
                  <a:pt x="5295553" y="711785"/>
                </a:lnTo>
                <a:lnTo>
                  <a:pt x="5295553" y="713192"/>
                </a:lnTo>
                <a:cubicBezTo>
                  <a:pt x="5295553" y="716007"/>
                  <a:pt x="5296960" y="721638"/>
                  <a:pt x="5299775" y="727269"/>
                </a:cubicBezTo>
                <a:cubicBezTo>
                  <a:pt x="5302590" y="732899"/>
                  <a:pt x="5309629" y="739936"/>
                  <a:pt x="5318075" y="739936"/>
                </a:cubicBezTo>
                <a:cubicBezTo>
                  <a:pt x="5323706" y="739936"/>
                  <a:pt x="5332152" y="735714"/>
                  <a:pt x="5340598" y="730084"/>
                </a:cubicBezTo>
                <a:cubicBezTo>
                  <a:pt x="5356081" y="721638"/>
                  <a:pt x="5368749" y="710377"/>
                  <a:pt x="5388456" y="713192"/>
                </a:cubicBezTo>
                <a:cubicBezTo>
                  <a:pt x="5419424" y="718823"/>
                  <a:pt x="5444762" y="765274"/>
                  <a:pt x="5456023" y="786388"/>
                </a:cubicBezTo>
                <a:cubicBezTo>
                  <a:pt x="5458838" y="790612"/>
                  <a:pt x="5460245" y="794834"/>
                  <a:pt x="5461654" y="796242"/>
                </a:cubicBezTo>
                <a:cubicBezTo>
                  <a:pt x="5461654" y="796242"/>
                  <a:pt x="5461654" y="796242"/>
                  <a:pt x="5461654" y="797649"/>
                </a:cubicBezTo>
                <a:cubicBezTo>
                  <a:pt x="5463060" y="799058"/>
                  <a:pt x="5465876" y="803280"/>
                  <a:pt x="5467284" y="801873"/>
                </a:cubicBezTo>
                <a:cubicBezTo>
                  <a:pt x="5470099" y="800464"/>
                  <a:pt x="5470099" y="797649"/>
                  <a:pt x="5470099" y="797649"/>
                </a:cubicBezTo>
                <a:cubicBezTo>
                  <a:pt x="5472915" y="772313"/>
                  <a:pt x="5489806" y="762459"/>
                  <a:pt x="5499659" y="758237"/>
                </a:cubicBezTo>
                <a:cubicBezTo>
                  <a:pt x="5509512" y="754013"/>
                  <a:pt x="5519366" y="754013"/>
                  <a:pt x="5526404" y="754013"/>
                </a:cubicBezTo>
                <a:cubicBezTo>
                  <a:pt x="5527812" y="754013"/>
                  <a:pt x="5527812" y="754013"/>
                  <a:pt x="5529219" y="754013"/>
                </a:cubicBezTo>
                <a:cubicBezTo>
                  <a:pt x="5534849" y="754013"/>
                  <a:pt x="5543295" y="749791"/>
                  <a:pt x="5554556" y="744160"/>
                </a:cubicBezTo>
                <a:cubicBezTo>
                  <a:pt x="5571448" y="735714"/>
                  <a:pt x="5593971" y="724453"/>
                  <a:pt x="5622122" y="718823"/>
                </a:cubicBezTo>
                <a:cubicBezTo>
                  <a:pt x="5629161" y="717414"/>
                  <a:pt x="5631976" y="718823"/>
                  <a:pt x="5631976" y="721638"/>
                </a:cubicBezTo>
                <a:cubicBezTo>
                  <a:pt x="5631976" y="723045"/>
                  <a:pt x="5631976" y="727269"/>
                  <a:pt x="5629161" y="728675"/>
                </a:cubicBezTo>
                <a:lnTo>
                  <a:pt x="5624939" y="730084"/>
                </a:lnTo>
                <a:cubicBezTo>
                  <a:pt x="5596786" y="742752"/>
                  <a:pt x="5553150" y="758237"/>
                  <a:pt x="5543295" y="789205"/>
                </a:cubicBezTo>
                <a:cubicBezTo>
                  <a:pt x="5540480" y="794834"/>
                  <a:pt x="5540480" y="801873"/>
                  <a:pt x="5540480" y="810319"/>
                </a:cubicBezTo>
                <a:cubicBezTo>
                  <a:pt x="5540480" y="813134"/>
                  <a:pt x="5540480" y="815949"/>
                  <a:pt x="5540480" y="820172"/>
                </a:cubicBezTo>
                <a:cubicBezTo>
                  <a:pt x="5540480" y="855362"/>
                  <a:pt x="5523588" y="876477"/>
                  <a:pt x="5513736" y="886330"/>
                </a:cubicBezTo>
                <a:cubicBezTo>
                  <a:pt x="5503881" y="896184"/>
                  <a:pt x="5494028" y="904628"/>
                  <a:pt x="5486989" y="908852"/>
                </a:cubicBezTo>
                <a:cubicBezTo>
                  <a:pt x="5484176" y="911668"/>
                  <a:pt x="5481361" y="913074"/>
                  <a:pt x="5481361" y="914483"/>
                </a:cubicBezTo>
                <a:cubicBezTo>
                  <a:pt x="5481361" y="914483"/>
                  <a:pt x="5478544" y="917298"/>
                  <a:pt x="5475730" y="921520"/>
                </a:cubicBezTo>
                <a:cubicBezTo>
                  <a:pt x="5468691" y="929966"/>
                  <a:pt x="5458838" y="942636"/>
                  <a:pt x="5448984" y="951082"/>
                </a:cubicBezTo>
                <a:cubicBezTo>
                  <a:pt x="5439131" y="960934"/>
                  <a:pt x="5426463" y="969380"/>
                  <a:pt x="5422239" y="969380"/>
                </a:cubicBezTo>
                <a:cubicBezTo>
                  <a:pt x="5420833" y="969380"/>
                  <a:pt x="5420833" y="969380"/>
                  <a:pt x="5420833" y="969380"/>
                </a:cubicBezTo>
                <a:cubicBezTo>
                  <a:pt x="5420833" y="969380"/>
                  <a:pt x="5419424" y="967974"/>
                  <a:pt x="5419424" y="967974"/>
                </a:cubicBezTo>
                <a:cubicBezTo>
                  <a:pt x="5419424" y="965158"/>
                  <a:pt x="5425055" y="958119"/>
                  <a:pt x="5433501" y="946858"/>
                </a:cubicBezTo>
                <a:cubicBezTo>
                  <a:pt x="5443353" y="935597"/>
                  <a:pt x="5447577" y="928559"/>
                  <a:pt x="5447577" y="927151"/>
                </a:cubicBezTo>
                <a:cubicBezTo>
                  <a:pt x="5446168" y="927151"/>
                  <a:pt x="5440538" y="929966"/>
                  <a:pt x="5433501" y="932781"/>
                </a:cubicBezTo>
                <a:cubicBezTo>
                  <a:pt x="5429277" y="934190"/>
                  <a:pt x="5425055" y="937005"/>
                  <a:pt x="5419424" y="939821"/>
                </a:cubicBezTo>
                <a:cubicBezTo>
                  <a:pt x="5399717" y="949673"/>
                  <a:pt x="5357489" y="963750"/>
                  <a:pt x="5351857" y="958119"/>
                </a:cubicBezTo>
                <a:cubicBezTo>
                  <a:pt x="5350450" y="956712"/>
                  <a:pt x="5350450" y="956712"/>
                  <a:pt x="5351857" y="955304"/>
                </a:cubicBezTo>
                <a:cubicBezTo>
                  <a:pt x="5351857" y="952489"/>
                  <a:pt x="5358896" y="949673"/>
                  <a:pt x="5371564" y="942636"/>
                </a:cubicBezTo>
                <a:cubicBezTo>
                  <a:pt x="5392680" y="932781"/>
                  <a:pt x="5425055" y="915891"/>
                  <a:pt x="5432092" y="893369"/>
                </a:cubicBezTo>
                <a:cubicBezTo>
                  <a:pt x="5427870" y="893369"/>
                  <a:pt x="5413794" y="893369"/>
                  <a:pt x="5395495" y="866623"/>
                </a:cubicBezTo>
                <a:cubicBezTo>
                  <a:pt x="5372973" y="832841"/>
                  <a:pt x="5360303" y="801873"/>
                  <a:pt x="5334967" y="801873"/>
                </a:cubicBezTo>
                <a:cubicBezTo>
                  <a:pt x="5305406" y="801873"/>
                  <a:pt x="5243471" y="842694"/>
                  <a:pt x="5220948" y="856770"/>
                </a:cubicBezTo>
                <a:cubicBezTo>
                  <a:pt x="5202650" y="824395"/>
                  <a:pt x="5192796" y="789205"/>
                  <a:pt x="5192796" y="749791"/>
                </a:cubicBezTo>
                <a:cubicBezTo>
                  <a:pt x="5192796" y="628735"/>
                  <a:pt x="5291331" y="530201"/>
                  <a:pt x="5412387" y="530201"/>
                </a:cubicBezTo>
                <a:close/>
                <a:moveTo>
                  <a:pt x="5413794" y="511901"/>
                </a:moveTo>
                <a:cubicBezTo>
                  <a:pt x="5281476" y="511901"/>
                  <a:pt x="5174497" y="618881"/>
                  <a:pt x="5174497" y="751198"/>
                </a:cubicBezTo>
                <a:cubicBezTo>
                  <a:pt x="5174497" y="883515"/>
                  <a:pt x="5281476" y="990494"/>
                  <a:pt x="5413794" y="990494"/>
                </a:cubicBezTo>
                <a:cubicBezTo>
                  <a:pt x="5546111" y="990494"/>
                  <a:pt x="5653090" y="883515"/>
                  <a:pt x="5653090" y="751198"/>
                </a:cubicBezTo>
                <a:cubicBezTo>
                  <a:pt x="5653090" y="618881"/>
                  <a:pt x="5546111" y="511901"/>
                  <a:pt x="5413794" y="511901"/>
                </a:cubicBezTo>
                <a:close/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E740D4-1B25-4367-9B11-A14AE3B9F6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185" y="341295"/>
            <a:ext cx="3969544" cy="276999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2BB489-86A6-4D41-BFFD-2AD8081D3C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2185" y="1369219"/>
            <a:ext cx="3969544" cy="344328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EBE8C23E-8228-48AE-81D2-B3F86D326CFA}"/>
              </a:ext>
            </a:extLst>
          </p:cNvPr>
          <p:cNvSpPr>
            <a:spLocks noGrp="1"/>
          </p:cNvSpPr>
          <p:nvPr>
            <p:ph type="subTitle" idx="18"/>
          </p:nvPr>
        </p:nvSpPr>
        <p:spPr>
          <a:xfrm>
            <a:off x="332185" y="618295"/>
            <a:ext cx="3969544" cy="276999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800" b="0" i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225"/>
              </a:spcAft>
              <a:buNone/>
              <a:defRPr sz="1800" i="1">
                <a:solidFill>
                  <a:schemeClr val="accent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160388A7-6F08-49E1-B0FE-A96D8EE2DC5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2185" y="112940"/>
            <a:ext cx="3969544" cy="115416"/>
          </a:xfrm>
        </p:spPr>
        <p:txBody>
          <a:bodyPr wrap="square">
            <a:spAutoFit/>
          </a:bodyPr>
          <a:lstStyle>
            <a:lvl1pPr>
              <a:defRPr sz="75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800" b="0" i="1">
                <a:solidFill>
                  <a:schemeClr val="accent1"/>
                </a:solidFill>
              </a:defRPr>
            </a:lvl2pPr>
            <a:lvl3pPr>
              <a:defRPr sz="1800" b="0" i="1">
                <a:solidFill>
                  <a:schemeClr val="accent1"/>
                </a:solidFill>
              </a:defRPr>
            </a:lvl3pPr>
            <a:lvl4pPr>
              <a:defRPr sz="1800" b="0" i="1">
                <a:solidFill>
                  <a:schemeClr val="accent1"/>
                </a:solidFill>
              </a:defRPr>
            </a:lvl4pPr>
            <a:lvl5pPr>
              <a:defRPr sz="1800" b="0" i="1">
                <a:solidFill>
                  <a:schemeClr val="accent1"/>
                </a:solidFill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hapter</a:t>
            </a:r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id="{841E0AD8-A3FC-4DCF-8CC8-F85964D55AA4}"/>
              </a:ext>
            </a:extLst>
          </p:cNvPr>
          <p:cNvSpPr txBox="1">
            <a:spLocks/>
          </p:cNvSpPr>
          <p:nvPr/>
        </p:nvSpPr>
        <p:spPr bwMode="gray">
          <a:xfrm>
            <a:off x="332185" y="956104"/>
            <a:ext cx="287687" cy="216000"/>
          </a:xfrm>
          <a:prstGeom prst="rect">
            <a:avLst/>
          </a:prstGeom>
          <a:noFill/>
        </p:spPr>
        <p:txBody>
          <a:bodyPr vert="horz" lIns="0" tIns="108000" rIns="0" bIns="0" rtlCol="0" anchor="b">
            <a:no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783" rtl="0" eaLnBrk="1" latinLnBrk="0" hangingPunct="1">
              <a:lnSpc>
                <a:spcPct val="100000"/>
              </a:lnSpc>
              <a:spcBef>
                <a:spcPts val="288"/>
              </a:spcBef>
              <a:buFont typeface="Arial" panose="020B0604020202020204" pitchFamily="34" charset="0"/>
              <a:buNone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3600" indent="-108000" algn="l" defTabSz="685783" rtl="0" eaLnBrk="1" latinLnBrk="0" hangingPunct="1">
              <a:lnSpc>
                <a:spcPct val="100000"/>
              </a:lnSpc>
              <a:spcBef>
                <a:spcPts val="24"/>
              </a:spcBef>
              <a:buSzPct val="70000"/>
              <a:buFont typeface="Arial" panose="020B0604020202020204" pitchFamily="34" charset="0"/>
              <a:buChar char="•"/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—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C005DD7-3042-4AD1-8E49-3FA214CFD47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332185" y="4885343"/>
            <a:ext cx="3969544" cy="115416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First name last name, dat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DCCBC9-E5C7-4E05-BC90-E9D50EBE972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8AD48C63-78A6-4D64-B839-4870EFEB9C1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D89E9A19-F6AF-4A3D-9C41-384130943F4B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3"/>
            </p:custDataLst>
          </p:nvPr>
        </p:nvSpPr>
        <p:spPr>
          <a:xfrm>
            <a:off x="6724036" y="4885343"/>
            <a:ext cx="1728839" cy="115416"/>
          </a:xfrm>
        </p:spPr>
        <p:txBody>
          <a:bodyPr/>
          <a:lstStyle>
            <a:lvl1pPr algn="r">
              <a:defRPr sz="75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Internal confidential  •  Copyright® 202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706585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613">
          <p15:clr>
            <a:srgbClr val="9FCC3B"/>
          </p15:clr>
        </p15:guide>
        <p15:guide id="2" pos="3840">
          <p15:clr>
            <a:srgbClr val="9FCC3B"/>
          </p15:clr>
        </p15:guide>
        <p15:guide id="3" pos="7401">
          <p15:clr>
            <a:srgbClr val="9FCC3B"/>
          </p15:clr>
        </p15:guide>
        <p15:guide id="4" pos="279">
          <p15:clr>
            <a:srgbClr val="9FCC3B"/>
          </p15:clr>
        </p15:guide>
        <p15:guide id="5" orient="horz" pos="2591">
          <p15:clr>
            <a:srgbClr val="9FCC3B"/>
          </p15:clr>
        </p15:guide>
        <p15:guide id="7" orient="horz" pos="1139">
          <p15:clr>
            <a:srgbClr val="9FCC3B"/>
          </p15:clr>
        </p15:guide>
        <p15:guide id="8" orient="horz" pos="4042">
          <p15:clr>
            <a:srgbClr val="9FCC3B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tags" Target="../tags/tag3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B8DE74FE-8C05-4270-9ADA-FB88C95E365C}"/>
              </a:ext>
            </a:extLst>
          </p:cNvPr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14049409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" name="think-cell Folie" r:id="rId33" imgW="592" imgH="591" progId="TCLayout.ActiveDocument.1">
                  <p:embed/>
                </p:oleObj>
              </mc:Choice>
              <mc:Fallback>
                <p:oleObj name="think-cell Folie" r:id="rId33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B8DE74FE-8C05-4270-9ADA-FB88C95E36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2428CE3-FB53-4624-9180-4B04BFA993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185" y="341295"/>
            <a:ext cx="7721963" cy="27699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 err="1"/>
              <a:t>Mastertitel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77352E-106C-4835-8640-1993543264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2185" y="1369219"/>
            <a:ext cx="8479631" cy="34432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Ebene</a:t>
            </a:r>
          </a:p>
          <a:p>
            <a:pPr lvl="2"/>
            <a:r>
              <a:rPr lang="en-US" dirty="0" err="1"/>
              <a:t>Dritte</a:t>
            </a:r>
            <a:r>
              <a:rPr lang="en-US" dirty="0"/>
              <a:t> Ebene</a:t>
            </a:r>
          </a:p>
          <a:p>
            <a:pPr lvl="3"/>
            <a:r>
              <a:rPr lang="en-US" dirty="0" err="1"/>
              <a:t>Vierte</a:t>
            </a:r>
            <a:r>
              <a:rPr lang="en-US" dirty="0"/>
              <a:t> Ebene</a:t>
            </a:r>
          </a:p>
          <a:p>
            <a:pPr lvl="4"/>
            <a:r>
              <a:rPr lang="en-US" dirty="0" err="1"/>
              <a:t>Fünfte</a:t>
            </a:r>
            <a:r>
              <a:rPr lang="en-US" dirty="0"/>
              <a:t> Eben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BE1290-0BD0-48FA-B8C8-775AFEA8F5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2185" y="4885343"/>
            <a:ext cx="5623560" cy="11541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75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First name last name, da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4F879F-0D22-4CF2-94F2-B95447B76B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1748" y="4862259"/>
            <a:ext cx="250068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9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8AD48C63-78A6-4D64-B839-4870EFEB9C1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8C531487-97DB-4961-879E-DE7854351013}"/>
              </a:ext>
            </a:extLst>
          </p:cNvPr>
          <p:cNvSpPr/>
          <p:nvPr/>
        </p:nvSpPr>
        <p:spPr>
          <a:xfrm>
            <a:off x="8452873" y="383926"/>
            <a:ext cx="358945" cy="358945"/>
          </a:xfrm>
          <a:custGeom>
            <a:avLst/>
            <a:gdLst>
              <a:gd name="connsiteX0" fmla="*/ 276926 w 276926"/>
              <a:gd name="connsiteY0" fmla="*/ 138463 h 276926"/>
              <a:gd name="connsiteX1" fmla="*/ 138463 w 276926"/>
              <a:gd name="connsiteY1" fmla="*/ 0 h 276926"/>
              <a:gd name="connsiteX2" fmla="*/ 0 w 276926"/>
              <a:gd name="connsiteY2" fmla="*/ 138463 h 276926"/>
              <a:gd name="connsiteX3" fmla="*/ 138463 w 276926"/>
              <a:gd name="connsiteY3" fmla="*/ 276926 h 276926"/>
              <a:gd name="connsiteX4" fmla="*/ 276926 w 276926"/>
              <a:gd name="connsiteY4" fmla="*/ 138463 h 276926"/>
              <a:gd name="connsiteX5" fmla="*/ 276926 w 276926"/>
              <a:gd name="connsiteY5" fmla="*/ 138463 h 276926"/>
              <a:gd name="connsiteX6" fmla="*/ 264709 w 276926"/>
              <a:gd name="connsiteY6" fmla="*/ 121359 h 276926"/>
              <a:gd name="connsiteX7" fmla="*/ 263080 w 276926"/>
              <a:gd name="connsiteY7" fmla="*/ 125431 h 276926"/>
              <a:gd name="connsiteX8" fmla="*/ 260637 w 276926"/>
              <a:gd name="connsiteY8" fmla="*/ 126246 h 276926"/>
              <a:gd name="connsiteX9" fmla="*/ 213396 w 276926"/>
              <a:gd name="connsiteY9" fmla="*/ 160455 h 276926"/>
              <a:gd name="connsiteX10" fmla="*/ 211767 w 276926"/>
              <a:gd name="connsiteY10" fmla="*/ 172672 h 276926"/>
              <a:gd name="connsiteX11" fmla="*/ 211767 w 276926"/>
              <a:gd name="connsiteY11" fmla="*/ 178373 h 276926"/>
              <a:gd name="connsiteX12" fmla="*/ 196292 w 276926"/>
              <a:gd name="connsiteY12" fmla="*/ 216654 h 276926"/>
              <a:gd name="connsiteX13" fmla="*/ 180816 w 276926"/>
              <a:gd name="connsiteY13" fmla="*/ 229686 h 276926"/>
              <a:gd name="connsiteX14" fmla="*/ 177559 w 276926"/>
              <a:gd name="connsiteY14" fmla="*/ 232944 h 276926"/>
              <a:gd name="connsiteX15" fmla="*/ 174301 w 276926"/>
              <a:gd name="connsiteY15" fmla="*/ 237016 h 276926"/>
              <a:gd name="connsiteX16" fmla="*/ 158825 w 276926"/>
              <a:gd name="connsiteY16" fmla="*/ 254121 h 276926"/>
              <a:gd name="connsiteX17" fmla="*/ 143350 w 276926"/>
              <a:gd name="connsiteY17" fmla="*/ 264709 h 276926"/>
              <a:gd name="connsiteX18" fmla="*/ 142536 w 276926"/>
              <a:gd name="connsiteY18" fmla="*/ 264709 h 276926"/>
              <a:gd name="connsiteX19" fmla="*/ 141721 w 276926"/>
              <a:gd name="connsiteY19" fmla="*/ 263895 h 276926"/>
              <a:gd name="connsiteX20" fmla="*/ 149866 w 276926"/>
              <a:gd name="connsiteY20" fmla="*/ 251677 h 276926"/>
              <a:gd name="connsiteX21" fmla="*/ 158011 w 276926"/>
              <a:gd name="connsiteY21" fmla="*/ 240274 h 276926"/>
              <a:gd name="connsiteX22" fmla="*/ 149866 w 276926"/>
              <a:gd name="connsiteY22" fmla="*/ 243532 h 276926"/>
              <a:gd name="connsiteX23" fmla="*/ 141721 w 276926"/>
              <a:gd name="connsiteY23" fmla="*/ 247605 h 276926"/>
              <a:gd name="connsiteX24" fmla="*/ 102625 w 276926"/>
              <a:gd name="connsiteY24" fmla="*/ 258193 h 276926"/>
              <a:gd name="connsiteX25" fmla="*/ 102625 w 276926"/>
              <a:gd name="connsiteY25" fmla="*/ 256564 h 276926"/>
              <a:gd name="connsiteX26" fmla="*/ 114028 w 276926"/>
              <a:gd name="connsiteY26" fmla="*/ 249234 h 276926"/>
              <a:gd name="connsiteX27" fmla="*/ 149051 w 276926"/>
              <a:gd name="connsiteY27" fmla="*/ 220727 h 276926"/>
              <a:gd name="connsiteX28" fmla="*/ 127875 w 276926"/>
              <a:gd name="connsiteY28" fmla="*/ 205251 h 276926"/>
              <a:gd name="connsiteX29" fmla="*/ 92852 w 276926"/>
              <a:gd name="connsiteY29" fmla="*/ 167785 h 276926"/>
              <a:gd name="connsiteX30" fmla="*/ 26878 w 276926"/>
              <a:gd name="connsiteY30" fmla="*/ 199550 h 276926"/>
              <a:gd name="connsiteX31" fmla="*/ 10588 w 276926"/>
              <a:gd name="connsiteY31" fmla="*/ 137649 h 276926"/>
              <a:gd name="connsiteX32" fmla="*/ 137649 w 276926"/>
              <a:gd name="connsiteY32" fmla="*/ 10589 h 276926"/>
              <a:gd name="connsiteX33" fmla="*/ 233758 w 276926"/>
              <a:gd name="connsiteY33" fmla="*/ 54571 h 276926"/>
              <a:gd name="connsiteX34" fmla="*/ 236202 w 276926"/>
              <a:gd name="connsiteY34" fmla="*/ 96924 h 276926"/>
              <a:gd name="connsiteX35" fmla="*/ 205251 w 276926"/>
              <a:gd name="connsiteY35" fmla="*/ 95295 h 276926"/>
              <a:gd name="connsiteX36" fmla="*/ 207695 w 276926"/>
              <a:gd name="connsiteY36" fmla="*/ 89594 h 276926"/>
              <a:gd name="connsiteX37" fmla="*/ 211767 w 276926"/>
              <a:gd name="connsiteY37" fmla="*/ 88779 h 276926"/>
              <a:gd name="connsiteX38" fmla="*/ 212582 w 276926"/>
              <a:gd name="connsiteY38" fmla="*/ 86336 h 276926"/>
              <a:gd name="connsiteX39" fmla="*/ 202808 w 276926"/>
              <a:gd name="connsiteY39" fmla="*/ 83078 h 276926"/>
              <a:gd name="connsiteX40" fmla="*/ 190590 w 276926"/>
              <a:gd name="connsiteY40" fmla="*/ 83893 h 276926"/>
              <a:gd name="connsiteX41" fmla="*/ 185703 w 276926"/>
              <a:gd name="connsiteY41" fmla="*/ 82263 h 276926"/>
              <a:gd name="connsiteX42" fmla="*/ 184074 w 276926"/>
              <a:gd name="connsiteY42" fmla="*/ 79820 h 276926"/>
              <a:gd name="connsiteX43" fmla="*/ 185703 w 276926"/>
              <a:gd name="connsiteY43" fmla="*/ 74933 h 276926"/>
              <a:gd name="connsiteX44" fmla="*/ 190590 w 276926"/>
              <a:gd name="connsiteY44" fmla="*/ 74119 h 276926"/>
              <a:gd name="connsiteX45" fmla="*/ 191405 w 276926"/>
              <a:gd name="connsiteY45" fmla="*/ 71675 h 276926"/>
              <a:gd name="connsiteX46" fmla="*/ 181631 w 276926"/>
              <a:gd name="connsiteY46" fmla="*/ 68417 h 276926"/>
              <a:gd name="connsiteX47" fmla="*/ 169414 w 276926"/>
              <a:gd name="connsiteY47" fmla="*/ 69232 h 276926"/>
              <a:gd name="connsiteX48" fmla="*/ 164527 w 276926"/>
              <a:gd name="connsiteY48" fmla="*/ 67603 h 276926"/>
              <a:gd name="connsiteX49" fmla="*/ 162898 w 276926"/>
              <a:gd name="connsiteY49" fmla="*/ 65159 h 276926"/>
              <a:gd name="connsiteX50" fmla="*/ 164527 w 276926"/>
              <a:gd name="connsiteY50" fmla="*/ 59458 h 276926"/>
              <a:gd name="connsiteX51" fmla="*/ 169414 w 276926"/>
              <a:gd name="connsiteY51" fmla="*/ 58643 h 276926"/>
              <a:gd name="connsiteX52" fmla="*/ 170228 w 276926"/>
              <a:gd name="connsiteY52" fmla="*/ 56200 h 276926"/>
              <a:gd name="connsiteX53" fmla="*/ 160454 w 276926"/>
              <a:gd name="connsiteY53" fmla="*/ 52942 h 276926"/>
              <a:gd name="connsiteX54" fmla="*/ 148237 w 276926"/>
              <a:gd name="connsiteY54" fmla="*/ 53756 h 276926"/>
              <a:gd name="connsiteX55" fmla="*/ 148237 w 276926"/>
              <a:gd name="connsiteY55" fmla="*/ 53756 h 276926"/>
              <a:gd name="connsiteX56" fmla="*/ 145794 w 276926"/>
              <a:gd name="connsiteY56" fmla="*/ 52942 h 276926"/>
              <a:gd name="connsiteX57" fmla="*/ 144979 w 276926"/>
              <a:gd name="connsiteY57" fmla="*/ 51313 h 276926"/>
              <a:gd name="connsiteX58" fmla="*/ 145794 w 276926"/>
              <a:gd name="connsiteY58" fmla="*/ 47241 h 276926"/>
              <a:gd name="connsiteX59" fmla="*/ 146608 w 276926"/>
              <a:gd name="connsiteY59" fmla="*/ 35837 h 276926"/>
              <a:gd name="connsiteX60" fmla="*/ 139277 w 276926"/>
              <a:gd name="connsiteY60" fmla="*/ 22806 h 276926"/>
              <a:gd name="connsiteX61" fmla="*/ 136834 w 276926"/>
              <a:gd name="connsiteY61" fmla="*/ 21991 h 276926"/>
              <a:gd name="connsiteX62" fmla="*/ 136020 w 276926"/>
              <a:gd name="connsiteY62" fmla="*/ 25249 h 276926"/>
              <a:gd name="connsiteX63" fmla="*/ 121359 w 276926"/>
              <a:gd name="connsiteY63" fmla="*/ 44797 h 276926"/>
              <a:gd name="connsiteX64" fmla="*/ 121359 w 276926"/>
              <a:gd name="connsiteY64" fmla="*/ 44797 h 276926"/>
              <a:gd name="connsiteX65" fmla="*/ 116472 w 276926"/>
              <a:gd name="connsiteY65" fmla="*/ 44797 h 276926"/>
              <a:gd name="connsiteX66" fmla="*/ 113214 w 276926"/>
              <a:gd name="connsiteY66" fmla="*/ 44797 h 276926"/>
              <a:gd name="connsiteX67" fmla="*/ 111585 w 276926"/>
              <a:gd name="connsiteY67" fmla="*/ 44797 h 276926"/>
              <a:gd name="connsiteX68" fmla="*/ 108327 w 276926"/>
              <a:gd name="connsiteY68" fmla="*/ 44797 h 276926"/>
              <a:gd name="connsiteX69" fmla="*/ 103440 w 276926"/>
              <a:gd name="connsiteY69" fmla="*/ 45611 h 276926"/>
              <a:gd name="connsiteX70" fmla="*/ 103440 w 276926"/>
              <a:gd name="connsiteY70" fmla="*/ 45611 h 276926"/>
              <a:gd name="connsiteX71" fmla="*/ 103440 w 276926"/>
              <a:gd name="connsiteY71" fmla="*/ 45611 h 276926"/>
              <a:gd name="connsiteX72" fmla="*/ 103440 w 276926"/>
              <a:gd name="connsiteY72" fmla="*/ 45611 h 276926"/>
              <a:gd name="connsiteX73" fmla="*/ 92037 w 276926"/>
              <a:gd name="connsiteY73" fmla="*/ 57014 h 276926"/>
              <a:gd name="connsiteX74" fmla="*/ 92037 w 276926"/>
              <a:gd name="connsiteY74" fmla="*/ 57014 h 276926"/>
              <a:gd name="connsiteX75" fmla="*/ 92037 w 276926"/>
              <a:gd name="connsiteY75" fmla="*/ 58643 h 276926"/>
              <a:gd name="connsiteX76" fmla="*/ 92037 w 276926"/>
              <a:gd name="connsiteY76" fmla="*/ 58643 h 276926"/>
              <a:gd name="connsiteX77" fmla="*/ 90408 w 276926"/>
              <a:gd name="connsiteY77" fmla="*/ 61087 h 276926"/>
              <a:gd name="connsiteX78" fmla="*/ 83892 w 276926"/>
              <a:gd name="connsiteY78" fmla="*/ 61901 h 276926"/>
              <a:gd name="connsiteX79" fmla="*/ 59458 w 276926"/>
              <a:gd name="connsiteY79" fmla="*/ 55385 h 276926"/>
              <a:gd name="connsiteX80" fmla="*/ 57829 w 276926"/>
              <a:gd name="connsiteY80" fmla="*/ 54571 h 276926"/>
              <a:gd name="connsiteX81" fmla="*/ 57014 w 276926"/>
              <a:gd name="connsiteY81" fmla="*/ 55385 h 276926"/>
              <a:gd name="connsiteX82" fmla="*/ 50498 w 276926"/>
              <a:gd name="connsiteY82" fmla="*/ 72490 h 276926"/>
              <a:gd name="connsiteX83" fmla="*/ 61901 w 276926"/>
              <a:gd name="connsiteY83" fmla="*/ 93666 h 276926"/>
              <a:gd name="connsiteX84" fmla="*/ 65973 w 276926"/>
              <a:gd name="connsiteY84" fmla="*/ 96110 h 276926"/>
              <a:gd name="connsiteX85" fmla="*/ 65973 w 276926"/>
              <a:gd name="connsiteY85" fmla="*/ 94481 h 276926"/>
              <a:gd name="connsiteX86" fmla="*/ 67603 w 276926"/>
              <a:gd name="connsiteY86" fmla="*/ 88779 h 276926"/>
              <a:gd name="connsiteX87" fmla="*/ 78191 w 276926"/>
              <a:gd name="connsiteY87" fmla="*/ 86336 h 276926"/>
              <a:gd name="connsiteX88" fmla="*/ 79005 w 276926"/>
              <a:gd name="connsiteY88" fmla="*/ 87150 h 276926"/>
              <a:gd name="connsiteX89" fmla="*/ 86336 w 276926"/>
              <a:gd name="connsiteY89" fmla="*/ 89594 h 276926"/>
              <a:gd name="connsiteX90" fmla="*/ 93666 w 276926"/>
              <a:gd name="connsiteY90" fmla="*/ 87150 h 276926"/>
              <a:gd name="connsiteX91" fmla="*/ 104255 w 276926"/>
              <a:gd name="connsiteY91" fmla="*/ 87150 h 276926"/>
              <a:gd name="connsiteX92" fmla="*/ 105884 w 276926"/>
              <a:gd name="connsiteY92" fmla="*/ 96110 h 276926"/>
              <a:gd name="connsiteX93" fmla="*/ 105884 w 276926"/>
              <a:gd name="connsiteY93" fmla="*/ 96924 h 276926"/>
              <a:gd name="connsiteX94" fmla="*/ 105069 w 276926"/>
              <a:gd name="connsiteY94" fmla="*/ 96924 h 276926"/>
              <a:gd name="connsiteX95" fmla="*/ 85521 w 276926"/>
              <a:gd name="connsiteY95" fmla="*/ 95295 h 276926"/>
              <a:gd name="connsiteX96" fmla="*/ 74118 w 276926"/>
              <a:gd name="connsiteY96" fmla="*/ 100182 h 276926"/>
              <a:gd name="connsiteX97" fmla="*/ 54571 w 276926"/>
              <a:gd name="connsiteY97" fmla="*/ 104255 h 276926"/>
              <a:gd name="connsiteX98" fmla="*/ 42353 w 276926"/>
              <a:gd name="connsiteY98" fmla="*/ 92852 h 276926"/>
              <a:gd name="connsiteX99" fmla="*/ 41539 w 276926"/>
              <a:gd name="connsiteY99" fmla="*/ 91223 h 276926"/>
              <a:gd name="connsiteX100" fmla="*/ 40724 w 276926"/>
              <a:gd name="connsiteY100" fmla="*/ 93666 h 276926"/>
              <a:gd name="connsiteX101" fmla="*/ 45611 w 276926"/>
              <a:gd name="connsiteY101" fmla="*/ 113214 h 276926"/>
              <a:gd name="connsiteX102" fmla="*/ 69232 w 276926"/>
              <a:gd name="connsiteY102" fmla="*/ 116472 h 276926"/>
              <a:gd name="connsiteX103" fmla="*/ 70046 w 276926"/>
              <a:gd name="connsiteY103" fmla="*/ 115658 h 276926"/>
              <a:gd name="connsiteX104" fmla="*/ 70046 w 276926"/>
              <a:gd name="connsiteY104" fmla="*/ 116472 h 276926"/>
              <a:gd name="connsiteX105" fmla="*/ 72489 w 276926"/>
              <a:gd name="connsiteY105" fmla="*/ 124617 h 276926"/>
              <a:gd name="connsiteX106" fmla="*/ 83078 w 276926"/>
              <a:gd name="connsiteY106" fmla="*/ 131947 h 276926"/>
              <a:gd name="connsiteX107" fmla="*/ 96110 w 276926"/>
              <a:gd name="connsiteY107" fmla="*/ 126246 h 276926"/>
              <a:gd name="connsiteX108" fmla="*/ 123802 w 276926"/>
              <a:gd name="connsiteY108" fmla="*/ 116472 h 276926"/>
              <a:gd name="connsiteX109" fmla="*/ 162898 w 276926"/>
              <a:gd name="connsiteY109" fmla="*/ 158825 h 276926"/>
              <a:gd name="connsiteX110" fmla="*/ 166156 w 276926"/>
              <a:gd name="connsiteY110" fmla="*/ 164527 h 276926"/>
              <a:gd name="connsiteX111" fmla="*/ 166156 w 276926"/>
              <a:gd name="connsiteY111" fmla="*/ 165341 h 276926"/>
              <a:gd name="connsiteX112" fmla="*/ 169414 w 276926"/>
              <a:gd name="connsiteY112" fmla="*/ 167785 h 276926"/>
              <a:gd name="connsiteX113" fmla="*/ 171043 w 276926"/>
              <a:gd name="connsiteY113" fmla="*/ 165341 h 276926"/>
              <a:gd name="connsiteX114" fmla="*/ 188147 w 276926"/>
              <a:gd name="connsiteY114" fmla="*/ 142536 h 276926"/>
              <a:gd name="connsiteX115" fmla="*/ 203622 w 276926"/>
              <a:gd name="connsiteY115" fmla="*/ 140092 h 276926"/>
              <a:gd name="connsiteX116" fmla="*/ 205251 w 276926"/>
              <a:gd name="connsiteY116" fmla="*/ 140092 h 276926"/>
              <a:gd name="connsiteX117" fmla="*/ 219912 w 276926"/>
              <a:gd name="connsiteY117" fmla="*/ 134391 h 276926"/>
              <a:gd name="connsiteX118" fmla="*/ 259007 w 276926"/>
              <a:gd name="connsiteY118" fmla="*/ 119730 h 276926"/>
              <a:gd name="connsiteX119" fmla="*/ 264709 w 276926"/>
              <a:gd name="connsiteY119" fmla="*/ 121359 h 276926"/>
              <a:gd name="connsiteX120" fmla="*/ 264709 w 276926"/>
              <a:gd name="connsiteY120" fmla="*/ 121359 h 276926"/>
              <a:gd name="connsiteX121" fmla="*/ 110770 w 276926"/>
              <a:gd name="connsiteY121" fmla="*/ 67603 h 276926"/>
              <a:gd name="connsiteX122" fmla="*/ 103440 w 276926"/>
              <a:gd name="connsiteY122" fmla="*/ 61901 h 276926"/>
              <a:gd name="connsiteX123" fmla="*/ 110770 w 276926"/>
              <a:gd name="connsiteY123" fmla="*/ 56200 h 276926"/>
              <a:gd name="connsiteX124" fmla="*/ 118101 w 276926"/>
              <a:gd name="connsiteY124" fmla="*/ 61901 h 276926"/>
              <a:gd name="connsiteX125" fmla="*/ 110770 w 276926"/>
              <a:gd name="connsiteY125" fmla="*/ 67603 h 276926"/>
              <a:gd name="connsiteX126" fmla="*/ 110770 w 276926"/>
              <a:gd name="connsiteY126" fmla="*/ 67603 h 276926"/>
              <a:gd name="connsiteX127" fmla="*/ 105069 w 276926"/>
              <a:gd name="connsiteY127" fmla="*/ 104255 h 276926"/>
              <a:gd name="connsiteX128" fmla="*/ 104255 w 276926"/>
              <a:gd name="connsiteY128" fmla="*/ 105069 h 276926"/>
              <a:gd name="connsiteX129" fmla="*/ 104255 w 276926"/>
              <a:gd name="connsiteY129" fmla="*/ 105069 h 276926"/>
              <a:gd name="connsiteX130" fmla="*/ 92852 w 276926"/>
              <a:gd name="connsiteY130" fmla="*/ 114843 h 276926"/>
              <a:gd name="connsiteX131" fmla="*/ 83078 w 276926"/>
              <a:gd name="connsiteY131" fmla="*/ 117286 h 276926"/>
              <a:gd name="connsiteX132" fmla="*/ 74933 w 276926"/>
              <a:gd name="connsiteY132" fmla="*/ 115658 h 276926"/>
              <a:gd name="connsiteX133" fmla="*/ 74933 w 276926"/>
              <a:gd name="connsiteY133" fmla="*/ 115658 h 276926"/>
              <a:gd name="connsiteX134" fmla="*/ 74933 w 276926"/>
              <a:gd name="connsiteY134" fmla="*/ 115658 h 276926"/>
              <a:gd name="connsiteX135" fmla="*/ 74933 w 276926"/>
              <a:gd name="connsiteY135" fmla="*/ 115658 h 276926"/>
              <a:gd name="connsiteX136" fmla="*/ 74933 w 276926"/>
              <a:gd name="connsiteY136" fmla="*/ 115658 h 276926"/>
              <a:gd name="connsiteX137" fmla="*/ 84707 w 276926"/>
              <a:gd name="connsiteY137" fmla="*/ 107513 h 276926"/>
              <a:gd name="connsiteX138" fmla="*/ 104255 w 276926"/>
              <a:gd name="connsiteY138" fmla="*/ 104255 h 276926"/>
              <a:gd name="connsiteX139" fmla="*/ 105069 w 276926"/>
              <a:gd name="connsiteY139" fmla="*/ 104255 h 276926"/>
              <a:gd name="connsiteX140" fmla="*/ 105069 w 276926"/>
              <a:gd name="connsiteY140" fmla="*/ 104255 h 276926"/>
              <a:gd name="connsiteX141" fmla="*/ 105069 w 276926"/>
              <a:gd name="connsiteY141" fmla="*/ 104255 h 276926"/>
              <a:gd name="connsiteX142" fmla="*/ 206066 w 276926"/>
              <a:gd name="connsiteY142" fmla="*/ 153124 h 276926"/>
              <a:gd name="connsiteX143" fmla="*/ 200364 w 276926"/>
              <a:gd name="connsiteY143" fmla="*/ 147423 h 276926"/>
              <a:gd name="connsiteX144" fmla="*/ 194663 w 276926"/>
              <a:gd name="connsiteY144" fmla="*/ 153124 h 276926"/>
              <a:gd name="connsiteX145" fmla="*/ 200364 w 276926"/>
              <a:gd name="connsiteY145" fmla="*/ 158825 h 276926"/>
              <a:gd name="connsiteX146" fmla="*/ 206066 w 276926"/>
              <a:gd name="connsiteY146" fmla="*/ 153124 h 276926"/>
              <a:gd name="connsiteX147" fmla="*/ 206066 w 276926"/>
              <a:gd name="connsiteY147" fmla="*/ 153124 h 276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276926" h="276926">
                <a:moveTo>
                  <a:pt x="276926" y="138463"/>
                </a:moveTo>
                <a:cubicBezTo>
                  <a:pt x="276926" y="61901"/>
                  <a:pt x="215025" y="0"/>
                  <a:pt x="138463" y="0"/>
                </a:cubicBezTo>
                <a:cubicBezTo>
                  <a:pt x="61901" y="0"/>
                  <a:pt x="0" y="61901"/>
                  <a:pt x="0" y="138463"/>
                </a:cubicBezTo>
                <a:cubicBezTo>
                  <a:pt x="0" y="215025"/>
                  <a:pt x="61901" y="276926"/>
                  <a:pt x="138463" y="276926"/>
                </a:cubicBezTo>
                <a:cubicBezTo>
                  <a:pt x="215025" y="276926"/>
                  <a:pt x="276926" y="215025"/>
                  <a:pt x="276926" y="138463"/>
                </a:cubicBezTo>
                <a:lnTo>
                  <a:pt x="276926" y="138463"/>
                </a:lnTo>
                <a:close/>
                <a:moveTo>
                  <a:pt x="264709" y="121359"/>
                </a:moveTo>
                <a:cubicBezTo>
                  <a:pt x="264709" y="122173"/>
                  <a:pt x="264709" y="124617"/>
                  <a:pt x="263080" y="125431"/>
                </a:cubicBezTo>
                <a:lnTo>
                  <a:pt x="260637" y="126246"/>
                </a:lnTo>
                <a:cubicBezTo>
                  <a:pt x="244347" y="133576"/>
                  <a:pt x="219098" y="142536"/>
                  <a:pt x="213396" y="160455"/>
                </a:cubicBezTo>
                <a:cubicBezTo>
                  <a:pt x="211767" y="163712"/>
                  <a:pt x="211767" y="167785"/>
                  <a:pt x="211767" y="172672"/>
                </a:cubicBezTo>
                <a:cubicBezTo>
                  <a:pt x="211767" y="174301"/>
                  <a:pt x="211767" y="175930"/>
                  <a:pt x="211767" y="178373"/>
                </a:cubicBezTo>
                <a:cubicBezTo>
                  <a:pt x="211767" y="198735"/>
                  <a:pt x="201993" y="210953"/>
                  <a:pt x="196292" y="216654"/>
                </a:cubicBezTo>
                <a:cubicBezTo>
                  <a:pt x="190590" y="222356"/>
                  <a:pt x="184889" y="227242"/>
                  <a:pt x="180816" y="229686"/>
                </a:cubicBezTo>
                <a:cubicBezTo>
                  <a:pt x="179188" y="231315"/>
                  <a:pt x="177559" y="232129"/>
                  <a:pt x="177559" y="232944"/>
                </a:cubicBezTo>
                <a:cubicBezTo>
                  <a:pt x="177559" y="232944"/>
                  <a:pt x="175929" y="234573"/>
                  <a:pt x="174301" y="237016"/>
                </a:cubicBezTo>
                <a:cubicBezTo>
                  <a:pt x="170228" y="241903"/>
                  <a:pt x="164527" y="249234"/>
                  <a:pt x="158825" y="254121"/>
                </a:cubicBezTo>
                <a:cubicBezTo>
                  <a:pt x="153124" y="259822"/>
                  <a:pt x="145794" y="264709"/>
                  <a:pt x="143350" y="264709"/>
                </a:cubicBezTo>
                <a:cubicBezTo>
                  <a:pt x="142536" y="264709"/>
                  <a:pt x="142536" y="264709"/>
                  <a:pt x="142536" y="264709"/>
                </a:cubicBezTo>
                <a:cubicBezTo>
                  <a:pt x="142536" y="264709"/>
                  <a:pt x="141721" y="263895"/>
                  <a:pt x="141721" y="263895"/>
                </a:cubicBezTo>
                <a:cubicBezTo>
                  <a:pt x="141721" y="262266"/>
                  <a:pt x="144979" y="258193"/>
                  <a:pt x="149866" y="251677"/>
                </a:cubicBezTo>
                <a:cubicBezTo>
                  <a:pt x="155567" y="245161"/>
                  <a:pt x="158011" y="241089"/>
                  <a:pt x="158011" y="240274"/>
                </a:cubicBezTo>
                <a:cubicBezTo>
                  <a:pt x="157196" y="240274"/>
                  <a:pt x="153938" y="241903"/>
                  <a:pt x="149866" y="243532"/>
                </a:cubicBezTo>
                <a:cubicBezTo>
                  <a:pt x="147422" y="244347"/>
                  <a:pt x="144979" y="245976"/>
                  <a:pt x="141721" y="247605"/>
                </a:cubicBezTo>
                <a:cubicBezTo>
                  <a:pt x="130318" y="253306"/>
                  <a:pt x="105884" y="261451"/>
                  <a:pt x="102625" y="258193"/>
                </a:cubicBezTo>
                <a:cubicBezTo>
                  <a:pt x="101811" y="257379"/>
                  <a:pt x="101811" y="257379"/>
                  <a:pt x="102625" y="256564"/>
                </a:cubicBezTo>
                <a:cubicBezTo>
                  <a:pt x="102625" y="254935"/>
                  <a:pt x="106698" y="253306"/>
                  <a:pt x="114028" y="249234"/>
                </a:cubicBezTo>
                <a:cubicBezTo>
                  <a:pt x="126246" y="243532"/>
                  <a:pt x="144979" y="233759"/>
                  <a:pt x="149051" y="220727"/>
                </a:cubicBezTo>
                <a:cubicBezTo>
                  <a:pt x="146608" y="220727"/>
                  <a:pt x="138463" y="220727"/>
                  <a:pt x="127875" y="205251"/>
                </a:cubicBezTo>
                <a:cubicBezTo>
                  <a:pt x="114843" y="185704"/>
                  <a:pt x="107512" y="167785"/>
                  <a:pt x="92852" y="167785"/>
                </a:cubicBezTo>
                <a:cubicBezTo>
                  <a:pt x="75747" y="167785"/>
                  <a:pt x="39910" y="191405"/>
                  <a:pt x="26878" y="199550"/>
                </a:cubicBezTo>
                <a:cubicBezTo>
                  <a:pt x="16290" y="180817"/>
                  <a:pt x="10588" y="160455"/>
                  <a:pt x="10588" y="137649"/>
                </a:cubicBezTo>
                <a:cubicBezTo>
                  <a:pt x="10588" y="67603"/>
                  <a:pt x="67603" y="10589"/>
                  <a:pt x="137649" y="10589"/>
                </a:cubicBezTo>
                <a:cubicBezTo>
                  <a:pt x="175929" y="10589"/>
                  <a:pt x="210138" y="27693"/>
                  <a:pt x="233758" y="54571"/>
                </a:cubicBezTo>
                <a:cubicBezTo>
                  <a:pt x="248419" y="73304"/>
                  <a:pt x="245976" y="88779"/>
                  <a:pt x="236202" y="96924"/>
                </a:cubicBezTo>
                <a:cubicBezTo>
                  <a:pt x="223985" y="105884"/>
                  <a:pt x="207695" y="102626"/>
                  <a:pt x="205251" y="95295"/>
                </a:cubicBezTo>
                <a:cubicBezTo>
                  <a:pt x="204437" y="91223"/>
                  <a:pt x="207695" y="89594"/>
                  <a:pt x="207695" y="89594"/>
                </a:cubicBezTo>
                <a:cubicBezTo>
                  <a:pt x="208509" y="88779"/>
                  <a:pt x="210138" y="88779"/>
                  <a:pt x="211767" y="88779"/>
                </a:cubicBezTo>
                <a:cubicBezTo>
                  <a:pt x="214211" y="88779"/>
                  <a:pt x="214211" y="87150"/>
                  <a:pt x="212582" y="86336"/>
                </a:cubicBezTo>
                <a:cubicBezTo>
                  <a:pt x="210138" y="84707"/>
                  <a:pt x="206066" y="83078"/>
                  <a:pt x="202808" y="83078"/>
                </a:cubicBezTo>
                <a:cubicBezTo>
                  <a:pt x="197921" y="83078"/>
                  <a:pt x="190590" y="83893"/>
                  <a:pt x="190590" y="83893"/>
                </a:cubicBezTo>
                <a:cubicBezTo>
                  <a:pt x="188961" y="83893"/>
                  <a:pt x="187333" y="83078"/>
                  <a:pt x="185703" y="82263"/>
                </a:cubicBezTo>
                <a:cubicBezTo>
                  <a:pt x="184889" y="81449"/>
                  <a:pt x="184074" y="80634"/>
                  <a:pt x="184074" y="79820"/>
                </a:cubicBezTo>
                <a:cubicBezTo>
                  <a:pt x="183260" y="75748"/>
                  <a:pt x="185703" y="74933"/>
                  <a:pt x="185703" y="74933"/>
                </a:cubicBezTo>
                <a:cubicBezTo>
                  <a:pt x="186518" y="74119"/>
                  <a:pt x="188961" y="73304"/>
                  <a:pt x="190590" y="74119"/>
                </a:cubicBezTo>
                <a:cubicBezTo>
                  <a:pt x="193034" y="74119"/>
                  <a:pt x="193034" y="72490"/>
                  <a:pt x="191405" y="71675"/>
                </a:cubicBezTo>
                <a:cubicBezTo>
                  <a:pt x="188961" y="70046"/>
                  <a:pt x="184889" y="68417"/>
                  <a:pt x="181631" y="68417"/>
                </a:cubicBezTo>
                <a:cubicBezTo>
                  <a:pt x="176744" y="68417"/>
                  <a:pt x="169414" y="69232"/>
                  <a:pt x="169414" y="69232"/>
                </a:cubicBezTo>
                <a:cubicBezTo>
                  <a:pt x="167785" y="69232"/>
                  <a:pt x="166156" y="68417"/>
                  <a:pt x="164527" y="67603"/>
                </a:cubicBezTo>
                <a:cubicBezTo>
                  <a:pt x="163712" y="66788"/>
                  <a:pt x="162898" y="65974"/>
                  <a:pt x="162898" y="65159"/>
                </a:cubicBezTo>
                <a:cubicBezTo>
                  <a:pt x="162083" y="61087"/>
                  <a:pt x="164527" y="59458"/>
                  <a:pt x="164527" y="59458"/>
                </a:cubicBezTo>
                <a:cubicBezTo>
                  <a:pt x="165341" y="58643"/>
                  <a:pt x="166970" y="57829"/>
                  <a:pt x="169414" y="58643"/>
                </a:cubicBezTo>
                <a:cubicBezTo>
                  <a:pt x="171857" y="58643"/>
                  <a:pt x="171857" y="57014"/>
                  <a:pt x="170228" y="56200"/>
                </a:cubicBezTo>
                <a:cubicBezTo>
                  <a:pt x="167785" y="54571"/>
                  <a:pt x="163712" y="52942"/>
                  <a:pt x="160454" y="52942"/>
                </a:cubicBezTo>
                <a:cubicBezTo>
                  <a:pt x="155567" y="52942"/>
                  <a:pt x="148237" y="53756"/>
                  <a:pt x="148237" y="53756"/>
                </a:cubicBezTo>
                <a:cubicBezTo>
                  <a:pt x="148237" y="53756"/>
                  <a:pt x="148237" y="53756"/>
                  <a:pt x="148237" y="53756"/>
                </a:cubicBezTo>
                <a:cubicBezTo>
                  <a:pt x="147422" y="53756"/>
                  <a:pt x="145794" y="53756"/>
                  <a:pt x="145794" y="52942"/>
                </a:cubicBezTo>
                <a:cubicBezTo>
                  <a:pt x="144979" y="52127"/>
                  <a:pt x="144979" y="52127"/>
                  <a:pt x="144979" y="51313"/>
                </a:cubicBezTo>
                <a:cubicBezTo>
                  <a:pt x="144979" y="50498"/>
                  <a:pt x="144979" y="48869"/>
                  <a:pt x="145794" y="47241"/>
                </a:cubicBezTo>
                <a:cubicBezTo>
                  <a:pt x="146608" y="43982"/>
                  <a:pt x="147422" y="40724"/>
                  <a:pt x="146608" y="35837"/>
                </a:cubicBezTo>
                <a:cubicBezTo>
                  <a:pt x="145794" y="26878"/>
                  <a:pt x="140907" y="23620"/>
                  <a:pt x="139277" y="22806"/>
                </a:cubicBezTo>
                <a:cubicBezTo>
                  <a:pt x="137649" y="21991"/>
                  <a:pt x="136834" y="21991"/>
                  <a:pt x="136834" y="21991"/>
                </a:cubicBezTo>
                <a:cubicBezTo>
                  <a:pt x="136834" y="21991"/>
                  <a:pt x="136020" y="23620"/>
                  <a:pt x="136020" y="25249"/>
                </a:cubicBezTo>
                <a:cubicBezTo>
                  <a:pt x="135205" y="31765"/>
                  <a:pt x="134391" y="44797"/>
                  <a:pt x="121359" y="44797"/>
                </a:cubicBezTo>
                <a:lnTo>
                  <a:pt x="121359" y="44797"/>
                </a:lnTo>
                <a:cubicBezTo>
                  <a:pt x="119730" y="44797"/>
                  <a:pt x="118101" y="44797"/>
                  <a:pt x="116472" y="44797"/>
                </a:cubicBezTo>
                <a:cubicBezTo>
                  <a:pt x="115657" y="44797"/>
                  <a:pt x="114028" y="44797"/>
                  <a:pt x="113214" y="44797"/>
                </a:cubicBezTo>
                <a:cubicBezTo>
                  <a:pt x="112399" y="44797"/>
                  <a:pt x="112399" y="44797"/>
                  <a:pt x="111585" y="44797"/>
                </a:cubicBezTo>
                <a:cubicBezTo>
                  <a:pt x="110770" y="44797"/>
                  <a:pt x="109142" y="44797"/>
                  <a:pt x="108327" y="44797"/>
                </a:cubicBezTo>
                <a:cubicBezTo>
                  <a:pt x="106698" y="44797"/>
                  <a:pt x="105069" y="44797"/>
                  <a:pt x="103440" y="45611"/>
                </a:cubicBezTo>
                <a:lnTo>
                  <a:pt x="103440" y="45611"/>
                </a:lnTo>
                <a:cubicBezTo>
                  <a:pt x="103440" y="45611"/>
                  <a:pt x="103440" y="45611"/>
                  <a:pt x="103440" y="45611"/>
                </a:cubicBezTo>
                <a:lnTo>
                  <a:pt x="103440" y="45611"/>
                </a:lnTo>
                <a:cubicBezTo>
                  <a:pt x="96924" y="47241"/>
                  <a:pt x="92852" y="51313"/>
                  <a:pt x="92037" y="57014"/>
                </a:cubicBezTo>
                <a:lnTo>
                  <a:pt x="92037" y="57014"/>
                </a:lnTo>
                <a:cubicBezTo>
                  <a:pt x="92037" y="57829"/>
                  <a:pt x="92037" y="57829"/>
                  <a:pt x="92037" y="58643"/>
                </a:cubicBezTo>
                <a:cubicBezTo>
                  <a:pt x="92037" y="58643"/>
                  <a:pt x="92037" y="58643"/>
                  <a:pt x="92037" y="58643"/>
                </a:cubicBezTo>
                <a:cubicBezTo>
                  <a:pt x="92037" y="59458"/>
                  <a:pt x="92037" y="61087"/>
                  <a:pt x="90408" y="61087"/>
                </a:cubicBezTo>
                <a:cubicBezTo>
                  <a:pt x="90408" y="61087"/>
                  <a:pt x="87965" y="61901"/>
                  <a:pt x="83892" y="61901"/>
                </a:cubicBezTo>
                <a:cubicBezTo>
                  <a:pt x="69232" y="63530"/>
                  <a:pt x="63530" y="57829"/>
                  <a:pt x="59458" y="55385"/>
                </a:cubicBezTo>
                <a:cubicBezTo>
                  <a:pt x="58643" y="55385"/>
                  <a:pt x="57829" y="54571"/>
                  <a:pt x="57829" y="54571"/>
                </a:cubicBezTo>
                <a:cubicBezTo>
                  <a:pt x="57829" y="54571"/>
                  <a:pt x="57829" y="54571"/>
                  <a:pt x="57014" y="55385"/>
                </a:cubicBezTo>
                <a:cubicBezTo>
                  <a:pt x="54571" y="57829"/>
                  <a:pt x="50498" y="65159"/>
                  <a:pt x="50498" y="72490"/>
                </a:cubicBezTo>
                <a:cubicBezTo>
                  <a:pt x="51313" y="84707"/>
                  <a:pt x="59458" y="92037"/>
                  <a:pt x="61901" y="93666"/>
                </a:cubicBezTo>
                <a:cubicBezTo>
                  <a:pt x="64345" y="95295"/>
                  <a:pt x="65973" y="96110"/>
                  <a:pt x="65973" y="96110"/>
                </a:cubicBezTo>
                <a:cubicBezTo>
                  <a:pt x="65973" y="96110"/>
                  <a:pt x="65973" y="95295"/>
                  <a:pt x="65973" y="94481"/>
                </a:cubicBezTo>
                <a:cubicBezTo>
                  <a:pt x="65973" y="92852"/>
                  <a:pt x="65973" y="91223"/>
                  <a:pt x="67603" y="88779"/>
                </a:cubicBezTo>
                <a:cubicBezTo>
                  <a:pt x="70860" y="83078"/>
                  <a:pt x="75747" y="85521"/>
                  <a:pt x="78191" y="86336"/>
                </a:cubicBezTo>
                <a:cubicBezTo>
                  <a:pt x="79005" y="86336"/>
                  <a:pt x="79005" y="86336"/>
                  <a:pt x="79005" y="87150"/>
                </a:cubicBezTo>
                <a:cubicBezTo>
                  <a:pt x="81449" y="87965"/>
                  <a:pt x="83892" y="89594"/>
                  <a:pt x="86336" y="89594"/>
                </a:cubicBezTo>
                <a:cubicBezTo>
                  <a:pt x="88779" y="89594"/>
                  <a:pt x="92037" y="87965"/>
                  <a:pt x="93666" y="87150"/>
                </a:cubicBezTo>
                <a:cubicBezTo>
                  <a:pt x="97739" y="85521"/>
                  <a:pt x="101811" y="84707"/>
                  <a:pt x="104255" y="87150"/>
                </a:cubicBezTo>
                <a:cubicBezTo>
                  <a:pt x="106698" y="89594"/>
                  <a:pt x="105884" y="95295"/>
                  <a:pt x="105884" y="96110"/>
                </a:cubicBezTo>
                <a:lnTo>
                  <a:pt x="105884" y="96924"/>
                </a:lnTo>
                <a:lnTo>
                  <a:pt x="105069" y="96924"/>
                </a:lnTo>
                <a:cubicBezTo>
                  <a:pt x="96110" y="93666"/>
                  <a:pt x="92852" y="94481"/>
                  <a:pt x="85521" y="95295"/>
                </a:cubicBezTo>
                <a:cubicBezTo>
                  <a:pt x="81449" y="96110"/>
                  <a:pt x="77376" y="98553"/>
                  <a:pt x="74118" y="100182"/>
                </a:cubicBezTo>
                <a:cubicBezTo>
                  <a:pt x="66788" y="104255"/>
                  <a:pt x="63530" y="107513"/>
                  <a:pt x="54571" y="104255"/>
                </a:cubicBezTo>
                <a:cubicBezTo>
                  <a:pt x="46426" y="100997"/>
                  <a:pt x="43982" y="96110"/>
                  <a:pt x="42353" y="92852"/>
                </a:cubicBezTo>
                <a:cubicBezTo>
                  <a:pt x="41539" y="92037"/>
                  <a:pt x="41539" y="91223"/>
                  <a:pt x="41539" y="91223"/>
                </a:cubicBezTo>
                <a:cubicBezTo>
                  <a:pt x="41539" y="91223"/>
                  <a:pt x="40724" y="92037"/>
                  <a:pt x="40724" y="93666"/>
                </a:cubicBezTo>
                <a:cubicBezTo>
                  <a:pt x="39095" y="97739"/>
                  <a:pt x="39095" y="105884"/>
                  <a:pt x="45611" y="113214"/>
                </a:cubicBezTo>
                <a:cubicBezTo>
                  <a:pt x="54571" y="123802"/>
                  <a:pt x="63530" y="119730"/>
                  <a:pt x="69232" y="116472"/>
                </a:cubicBezTo>
                <a:lnTo>
                  <a:pt x="70046" y="115658"/>
                </a:lnTo>
                <a:lnTo>
                  <a:pt x="70046" y="116472"/>
                </a:lnTo>
                <a:cubicBezTo>
                  <a:pt x="70046" y="118101"/>
                  <a:pt x="70860" y="121359"/>
                  <a:pt x="72489" y="124617"/>
                </a:cubicBezTo>
                <a:cubicBezTo>
                  <a:pt x="74118" y="127875"/>
                  <a:pt x="78191" y="131947"/>
                  <a:pt x="83078" y="131947"/>
                </a:cubicBezTo>
                <a:cubicBezTo>
                  <a:pt x="86336" y="131947"/>
                  <a:pt x="91223" y="129504"/>
                  <a:pt x="96110" y="126246"/>
                </a:cubicBezTo>
                <a:cubicBezTo>
                  <a:pt x="105069" y="121359"/>
                  <a:pt x="112399" y="114843"/>
                  <a:pt x="123802" y="116472"/>
                </a:cubicBezTo>
                <a:cubicBezTo>
                  <a:pt x="141721" y="119730"/>
                  <a:pt x="156382" y="146608"/>
                  <a:pt x="162898" y="158825"/>
                </a:cubicBezTo>
                <a:cubicBezTo>
                  <a:pt x="164527" y="161269"/>
                  <a:pt x="165341" y="163712"/>
                  <a:pt x="166156" y="164527"/>
                </a:cubicBezTo>
                <a:cubicBezTo>
                  <a:pt x="166156" y="164527"/>
                  <a:pt x="166156" y="164527"/>
                  <a:pt x="166156" y="165341"/>
                </a:cubicBezTo>
                <a:cubicBezTo>
                  <a:pt x="166970" y="166156"/>
                  <a:pt x="168599" y="168599"/>
                  <a:pt x="169414" y="167785"/>
                </a:cubicBezTo>
                <a:cubicBezTo>
                  <a:pt x="171043" y="166970"/>
                  <a:pt x="171043" y="165341"/>
                  <a:pt x="171043" y="165341"/>
                </a:cubicBezTo>
                <a:cubicBezTo>
                  <a:pt x="172672" y="150681"/>
                  <a:pt x="182446" y="144979"/>
                  <a:pt x="188147" y="142536"/>
                </a:cubicBezTo>
                <a:cubicBezTo>
                  <a:pt x="193848" y="140092"/>
                  <a:pt x="199550" y="140092"/>
                  <a:pt x="203622" y="140092"/>
                </a:cubicBezTo>
                <a:cubicBezTo>
                  <a:pt x="204437" y="140092"/>
                  <a:pt x="204437" y="140092"/>
                  <a:pt x="205251" y="140092"/>
                </a:cubicBezTo>
                <a:cubicBezTo>
                  <a:pt x="208509" y="140092"/>
                  <a:pt x="213396" y="137649"/>
                  <a:pt x="219912" y="134391"/>
                </a:cubicBezTo>
                <a:cubicBezTo>
                  <a:pt x="229686" y="129504"/>
                  <a:pt x="242718" y="122988"/>
                  <a:pt x="259007" y="119730"/>
                </a:cubicBezTo>
                <a:cubicBezTo>
                  <a:pt x="263080" y="118915"/>
                  <a:pt x="264709" y="119730"/>
                  <a:pt x="264709" y="121359"/>
                </a:cubicBezTo>
                <a:lnTo>
                  <a:pt x="264709" y="121359"/>
                </a:lnTo>
                <a:close/>
                <a:moveTo>
                  <a:pt x="110770" y="67603"/>
                </a:moveTo>
                <a:cubicBezTo>
                  <a:pt x="106698" y="67603"/>
                  <a:pt x="103440" y="65159"/>
                  <a:pt x="103440" y="61901"/>
                </a:cubicBezTo>
                <a:cubicBezTo>
                  <a:pt x="103440" y="58643"/>
                  <a:pt x="106698" y="56200"/>
                  <a:pt x="110770" y="56200"/>
                </a:cubicBezTo>
                <a:cubicBezTo>
                  <a:pt x="114843" y="56200"/>
                  <a:pt x="118101" y="58643"/>
                  <a:pt x="118101" y="61901"/>
                </a:cubicBezTo>
                <a:cubicBezTo>
                  <a:pt x="118101" y="65159"/>
                  <a:pt x="114843" y="67603"/>
                  <a:pt x="110770" y="67603"/>
                </a:cubicBezTo>
                <a:lnTo>
                  <a:pt x="110770" y="67603"/>
                </a:lnTo>
                <a:close/>
                <a:moveTo>
                  <a:pt x="105069" y="104255"/>
                </a:moveTo>
                <a:cubicBezTo>
                  <a:pt x="105069" y="104255"/>
                  <a:pt x="105069" y="105069"/>
                  <a:pt x="104255" y="105069"/>
                </a:cubicBezTo>
                <a:lnTo>
                  <a:pt x="104255" y="105069"/>
                </a:lnTo>
                <a:cubicBezTo>
                  <a:pt x="102625" y="108327"/>
                  <a:pt x="99368" y="112400"/>
                  <a:pt x="92852" y="114843"/>
                </a:cubicBezTo>
                <a:cubicBezTo>
                  <a:pt x="88779" y="116472"/>
                  <a:pt x="86336" y="117286"/>
                  <a:pt x="83078" y="117286"/>
                </a:cubicBezTo>
                <a:cubicBezTo>
                  <a:pt x="79005" y="117286"/>
                  <a:pt x="75747" y="116472"/>
                  <a:pt x="74933" y="115658"/>
                </a:cubicBezTo>
                <a:lnTo>
                  <a:pt x="74933" y="115658"/>
                </a:lnTo>
                <a:cubicBezTo>
                  <a:pt x="74933" y="115658"/>
                  <a:pt x="74933" y="115658"/>
                  <a:pt x="74933" y="115658"/>
                </a:cubicBezTo>
                <a:lnTo>
                  <a:pt x="74933" y="115658"/>
                </a:lnTo>
                <a:lnTo>
                  <a:pt x="74933" y="115658"/>
                </a:lnTo>
                <a:cubicBezTo>
                  <a:pt x="74933" y="115658"/>
                  <a:pt x="79005" y="111585"/>
                  <a:pt x="84707" y="107513"/>
                </a:cubicBezTo>
                <a:cubicBezTo>
                  <a:pt x="92852" y="102626"/>
                  <a:pt x="98553" y="101811"/>
                  <a:pt x="104255" y="104255"/>
                </a:cubicBezTo>
                <a:lnTo>
                  <a:pt x="105069" y="104255"/>
                </a:lnTo>
                <a:lnTo>
                  <a:pt x="105069" y="104255"/>
                </a:lnTo>
                <a:lnTo>
                  <a:pt x="105069" y="104255"/>
                </a:lnTo>
                <a:close/>
                <a:moveTo>
                  <a:pt x="206066" y="153124"/>
                </a:moveTo>
                <a:cubicBezTo>
                  <a:pt x="206066" y="149866"/>
                  <a:pt x="203622" y="147423"/>
                  <a:pt x="200364" y="147423"/>
                </a:cubicBezTo>
                <a:cubicBezTo>
                  <a:pt x="197106" y="147423"/>
                  <a:pt x="194663" y="149866"/>
                  <a:pt x="194663" y="153124"/>
                </a:cubicBezTo>
                <a:cubicBezTo>
                  <a:pt x="194663" y="156382"/>
                  <a:pt x="197106" y="158825"/>
                  <a:pt x="200364" y="158825"/>
                </a:cubicBezTo>
                <a:cubicBezTo>
                  <a:pt x="203622" y="158011"/>
                  <a:pt x="206066" y="155568"/>
                  <a:pt x="206066" y="153124"/>
                </a:cubicBezTo>
                <a:lnTo>
                  <a:pt x="206066" y="153124"/>
                </a:ln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 sz="1350" dirty="0">
              <a:latin typeface="+mn-lt"/>
              <a:ea typeface="+mn-ea"/>
              <a:cs typeface="+mn-cs"/>
            </a:endParaRPr>
          </a:p>
        </p:txBody>
      </p:sp>
      <p:sp>
        <p:nvSpPr>
          <p:cNvPr id="9" name="empower - DO NOT DELETE!!!">
            <a:extLst>
              <a:ext uri="{FF2B5EF4-FFF2-40B4-BE49-F238E27FC236}">
                <a16:creationId xmlns:a16="http://schemas.microsoft.com/office/drawing/2014/main" id="{4C3FDF4F-08D8-45D7-9D5D-BE5A0308B4D8}"/>
              </a:ext>
            </a:extLst>
          </p:cNvPr>
          <p:cNvSpPr/>
          <p:nvPr>
            <p:custDataLst>
              <p:tags r:id="rId30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2"/>
          </a:solidFill>
        </p:spPr>
        <p:txBody>
          <a:bodyPr wrap="square" lIns="68580" tIns="34290" rIns="68580" bIns="34290" rtlCol="0" anchor="ctr">
            <a:noAutofit/>
          </a:bodyPr>
          <a:lstStyle/>
          <a:p>
            <a:pPr lvl="0" algn="l">
              <a:spcBef>
                <a:spcPts val="450"/>
              </a:spcBef>
            </a:pPr>
            <a:endParaRPr lang="en-US" sz="1350" dirty="0" err="1">
              <a:latin typeface="+mn-lt"/>
              <a:ea typeface="+mn-ea"/>
              <a:cs typeface="+mn-cs"/>
            </a:endParaRPr>
          </a:p>
        </p:txBody>
      </p:sp>
      <p:sp>
        <p:nvSpPr>
          <p:cNvPr id="4" name="Status">
            <a:extLst>
              <a:ext uri="{FF2B5EF4-FFF2-40B4-BE49-F238E27FC236}">
                <a16:creationId xmlns:a16="http://schemas.microsoft.com/office/drawing/2014/main" id="{E1D46C1F-90BB-4B5B-BAD8-2B537D62A85E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>
          <a:xfrm>
            <a:off x="6728042" y="4885343"/>
            <a:ext cx="1724831" cy="11541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/>
            <a:r>
              <a:rPr lang="en-US" sz="750" b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ternal confidential  •  Copyright® 2021</a:t>
            </a:r>
          </a:p>
        </p:txBody>
      </p:sp>
      <p:sp>
        <p:nvSpPr>
          <p:cNvPr id="7" name="empower - DO NOT DELETE!!!" hidden="1">
            <a:extLst>
              <a:ext uri="{FF2B5EF4-FFF2-40B4-BE49-F238E27FC236}">
                <a16:creationId xmlns:a16="http://schemas.microsoft.com/office/drawing/2014/main" id="{3DDAD07A-5D41-47B2-AEF4-7F064309577B}"/>
              </a:ext>
            </a:extLst>
          </p:cNvPr>
          <p:cNvSpPr/>
          <p:nvPr>
            <p:custDataLst>
              <p:tags r:id="rId3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2"/>
          </a:solidFill>
        </p:spPr>
        <p:txBody>
          <a:bodyPr wrap="square" lIns="68580" tIns="34290" rIns="68580" bIns="34290" rtlCol="0" anchor="ctr">
            <a:noAutofit/>
          </a:bodyPr>
          <a:lstStyle/>
          <a:p>
            <a:pPr lvl="0" algn="l">
              <a:spcBef>
                <a:spcPts val="450"/>
              </a:spcBef>
            </a:pPr>
            <a:endParaRPr lang="en-US" sz="1350" dirty="0" err="1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7465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  <p:sldLayoutId id="2147483816" r:id="rId12"/>
    <p:sldLayoutId id="2147483817" r:id="rId13"/>
    <p:sldLayoutId id="2147483818" r:id="rId14"/>
    <p:sldLayoutId id="2147483819" r:id="rId15"/>
    <p:sldLayoutId id="2147483820" r:id="rId16"/>
    <p:sldLayoutId id="2147483821" r:id="rId17"/>
    <p:sldLayoutId id="2147483822" r:id="rId18"/>
    <p:sldLayoutId id="2147483823" r:id="rId19"/>
    <p:sldLayoutId id="2147483824" r:id="rId20"/>
    <p:sldLayoutId id="2147483825" r:id="rId21"/>
    <p:sldLayoutId id="2147483826" r:id="rId22"/>
    <p:sldLayoutId id="2147483827" r:id="rId23"/>
    <p:sldLayoutId id="2147483828" r:id="rId24"/>
    <p:sldLayoutId id="2147483829" r:id="rId25"/>
    <p:sldLayoutId id="2147483830" r:id="rId26"/>
  </p:sldLayoutIdLst>
  <p:hf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1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900"/>
        </a:spcBef>
        <a:buFont typeface="Arial" panose="020B0604020202020204" pitchFamily="34" charset="0"/>
        <a:buNone/>
        <a:defRPr sz="105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100000"/>
        </a:lnSpc>
        <a:spcBef>
          <a:spcPts val="900"/>
        </a:spcBef>
        <a:buFont typeface="Arial" panose="020B0604020202020204" pitchFamily="34" charset="0"/>
        <a:buNone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135000" indent="-13500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Font typeface="Symbol" panose="05050102010706020507" pitchFamily="18" charset="2"/>
        <a:buChar char="-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270000" indent="-135000" algn="l" defTabSz="685800" rtl="0" eaLnBrk="1" latinLnBrk="0" hangingPunct="1">
        <a:lnSpc>
          <a:spcPct val="100000"/>
        </a:lnSpc>
        <a:spcBef>
          <a:spcPts val="75"/>
        </a:spcBef>
        <a:spcAft>
          <a:spcPts val="75"/>
        </a:spcAft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405000" indent="-135000" algn="l" defTabSz="685800" rtl="0" eaLnBrk="1" latinLnBrk="0" hangingPunct="1">
        <a:lnSpc>
          <a:spcPct val="100000"/>
        </a:lnSpc>
        <a:spcBef>
          <a:spcPts val="0"/>
        </a:spcBef>
        <a:buFont typeface="Segoe UI" panose="020B0502040204020203" pitchFamily="34" charset="0"/>
        <a:buChar char="‑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35000" algn="l" defTabSz="685800" rtl="0" eaLnBrk="1" latinLnBrk="0" hangingPunct="1">
        <a:lnSpc>
          <a:spcPct val="100000"/>
        </a:lnSpc>
        <a:spcBef>
          <a:spcPts val="0"/>
        </a:spcBef>
        <a:buFont typeface="Segoe UI" panose="020B0502040204020203" pitchFamily="34" charset="0"/>
        <a:buChar char="‑"/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675000" indent="-135000" algn="l" defTabSz="685800" rtl="0" eaLnBrk="1" latinLnBrk="0" hangingPunct="1">
        <a:lnSpc>
          <a:spcPct val="100000"/>
        </a:lnSpc>
        <a:spcBef>
          <a:spcPts val="0"/>
        </a:spcBef>
        <a:buFont typeface="Segoe UI" panose="020B0502040204020203" pitchFamily="34" charset="0"/>
        <a:buChar char="‑"/>
        <a:defRPr sz="1050" kern="1200">
          <a:solidFill>
            <a:schemeClr val="tx1"/>
          </a:solidFill>
          <a:latin typeface="+mn-lt"/>
          <a:ea typeface="+mn-ea"/>
          <a:cs typeface="+mn-cs"/>
        </a:defRPr>
      </a:lvl7pPr>
      <a:lvl8pPr marL="810000" indent="-135000" algn="l" defTabSz="685800" rtl="0" eaLnBrk="1" latinLnBrk="0" hangingPunct="1">
        <a:lnSpc>
          <a:spcPct val="100000"/>
        </a:lnSpc>
        <a:spcBef>
          <a:spcPts val="0"/>
        </a:spcBef>
        <a:buFont typeface="Segoe UI" panose="020B0502040204020203" pitchFamily="34" charset="0"/>
        <a:buChar char="‑"/>
        <a:defRPr sz="1050" kern="1200">
          <a:solidFill>
            <a:schemeClr val="tx1"/>
          </a:solidFill>
          <a:latin typeface="+mn-lt"/>
          <a:ea typeface="+mn-ea"/>
          <a:cs typeface="+mn-cs"/>
        </a:defRPr>
      </a:lvl8pPr>
      <a:lvl9pPr marL="945000" indent="-135000" algn="l" defTabSz="685800" rtl="0" eaLnBrk="1" latinLnBrk="0" hangingPunct="1">
        <a:lnSpc>
          <a:spcPct val="100000"/>
        </a:lnSpc>
        <a:spcBef>
          <a:spcPts val="0"/>
        </a:spcBef>
        <a:buFont typeface="Segoe UI" panose="020B0502040204020203" pitchFamily="34" charset="0"/>
        <a:buChar char="‑"/>
        <a:defRPr sz="10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1BC9545-1045-4620-A867-7EBFE8D5C4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1844" y="521337"/>
            <a:ext cx="3960127" cy="1846659"/>
          </a:xfrm>
        </p:spPr>
        <p:txBody>
          <a:bodyPr/>
          <a:lstStyle/>
          <a:p>
            <a:r>
              <a:rPr lang="en-US" i="0" dirty="0">
                <a:solidFill>
                  <a:schemeClr val="bg2"/>
                </a:solidFill>
                <a:latin typeface="+mj-lt"/>
              </a:rPr>
              <a:t>SYMRISE DISCRIMINATION TESTING OUTPUT</a:t>
            </a:r>
            <a:br>
              <a:rPr lang="en-US" i="0" dirty="0">
                <a:solidFill>
                  <a:srgbClr val="9C3535"/>
                </a:solidFill>
                <a:latin typeface="+mj-lt"/>
              </a:rPr>
            </a:br>
            <a:endParaRPr lang="en-GB" dirty="0"/>
          </a:p>
        </p:txBody>
      </p:sp>
      <p:pic>
        <p:nvPicPr>
          <p:cNvPr id="9" name="Picture Placeholder 8" descr="A person and person with a baby&#10;&#10;Description automatically generated with low confidence">
            <a:extLst>
              <a:ext uri="{FF2B5EF4-FFF2-40B4-BE49-F238E27FC236}">
                <a16:creationId xmlns:a16="http://schemas.microsoft.com/office/drawing/2014/main" id="{68FBE173-EC1F-4A41-A99F-06EC13F0DA4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l="24991" r="24991"/>
          <a:stretch>
            <a:fillRect/>
          </a:stretch>
        </p:blipFill>
        <p:spPr/>
      </p:pic>
      <p:sp>
        <p:nvSpPr>
          <p:cNvPr id="10" name="Fußzeilenplatzhalter 28">
            <a:extLst>
              <a:ext uri="{FF2B5EF4-FFF2-40B4-BE49-F238E27FC236}">
                <a16:creationId xmlns:a16="http://schemas.microsoft.com/office/drawing/2014/main" id="{2C4F51C5-1705-4C04-80EF-743720F60AE5}"/>
              </a:ext>
            </a:extLst>
          </p:cNvPr>
          <p:cNvSpPr txBox="1">
            <a:spLocks/>
          </p:cNvSpPr>
          <p:nvPr/>
        </p:nvSpPr>
        <p:spPr>
          <a:xfrm>
            <a:off x="341844" y="4783138"/>
            <a:ext cx="3962400" cy="1778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7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egoe UI" panose="020B0502040204020203" pitchFamily="34" charset="0"/>
              <a:buChar char="‑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egoe UI" panose="020B0502040204020203" pitchFamily="34" charset="0"/>
              <a:buChar char="‑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egoe UI" panose="020B0502040204020203" pitchFamily="34" charset="0"/>
              <a:buChar char="‑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egoe UI" panose="020B0502040204020203" pitchFamily="34" charset="0"/>
              <a:buChar char="‑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egoe UI" panose="020B0502040204020203" pitchFamily="34" charset="0"/>
              <a:buChar char="‑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AME | Sensory &amp; Consumer Insights EAME | January 2021</a:t>
            </a:r>
            <a:endParaRPr lang="de-DE" sz="9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3950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External/Internal information;"/>
  <p:tag name="MIO_USER_INPUT_OPTIONS" val=";External  •  Copyright® 2021;External confidential  •  Copyright® 2021;Draft  •  Copyright® 2021;Internal  •  Copyright® 2021;Internal confidential  •  Copyright® 2021;For internal use only  •  Copyright® 202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External/Internal information;"/>
  <p:tag name="MIO_USER_INPUT_OPTIONS" val=";External  •  Copyright® 2021;External confidential  •  Copyright® 2021;Draft  •  Copyright® 2021;Internal  •  Copyright® 2021;Internal confidential  •  Copyright® 2021;For internal use only  •  Copyright® 202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External/Internal information;"/>
  <p:tag name="MIO_USER_INPUT_OPTIONS" val=";External  •  Copyright® 2021;External confidential  •  Copyright® 2021;Draft  •  Copyright® 2021;Internal  •  Copyright® 2021;Internal confidential  •  Copyright® 2021;For internal use only  •  Copyright® 202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External/Internal information;"/>
  <p:tag name="MIO_USER_INPUT_OPTIONS" val=";External  •  Copyright® 2021;External confidential  •  Copyright® 2021;Draft  •  Copyright® 2021;Internal  •  Copyright® 2021;Internal confidential  •  Copyright® 2021;For internal use only  •  Copyright® 202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External/Internal information;"/>
  <p:tag name="MIO_USER_INPUT_OPTIONS" val=";External  •  Copyright® 2021;External confidential  •  Copyright® 2021;Draft  •  Copyright® 2021;Internal  •  Copyright® 2021;Internal confidential  •  Copyright® 2021;For internal use only  •  Copyright® 20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External/Internal information;"/>
  <p:tag name="MIO_USER_INPUT_OPTIONS" val=";External  •  Copyright® 2021;External confidential  •  Copyright® 2021;Draft  •  Copyright® 2021;Internal  •  Copyright® 2021;Internal confidential  •  Copyright® 2021;For internal use only  •  Copyright® 202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External/Internal information;"/>
  <p:tag name="MIO_USER_INPUT_OPTIONS" val=";External  •  Copyright® 2021;External confidential  •  Copyright® 2021;Draft  •  Copyright® 2021;Internal  •  Copyright® 2021;Internal confidential  •  Copyright® 2021;For internal use only  •  Copyright® 202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External/Internal information;"/>
  <p:tag name="MIO_USER_INPUT_OPTIONS" val=";External  •  Copyright® 2021;External confidential  •  Copyright® 2021;Draft  •  Copyright® 2021;Internal  •  Copyright® 2021;Internal confidential  •  Copyright® 2021;For internal use only  •  Copyright® 202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External/Internal information;"/>
  <p:tag name="MIO_USER_INPUT_OPTIONS" val=";External  •  Copyright® 2021;External confidential  •  Copyright® 2021;Draft  •  Copyright® 2021;Internal  •  Copyright® 2021;Internal confidential  •  Copyright® 2021;For internal use only  •  Copyright® 202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23"/>
  <p:tag name="MIO_SHOW_DATE" val="False"/>
  <p:tag name="MIO_SHOW_FOOTER" val="True"/>
  <p:tag name="MIO_SHOW_PAGENUMBER" val="True"/>
  <p:tag name="MIO_AVOID_BLANK_LAYOUT" val="True"/>
  <p:tag name="MIO_CD_LAYOUT_VALID_AREA" val="False"/>
  <p:tag name="MIO_EMBED_FONT" val="False"/>
  <p:tag name="MIO_NUMBER_OF_VALID_LAYOUTS" val="26"/>
  <p:tag name="MIO_HDS" val="True"/>
  <p:tag name="MIO_SKIPVERSION" val="01.01.0001 00:00:00"/>
  <p:tag name="MIO_EKGUID" val="bfe5fd8b-a45f-4ff9-a800-3f9ab69f1ad1"/>
  <p:tag name="MIO_UPDATE" val="True"/>
  <p:tag name="MIO_VERSION" val="16.07.2021 09:11:22"/>
  <p:tag name="MIO_DBID" val="0F45B44C-9BC7-4D85-81C4-7155EE70A7B9"/>
  <p:tag name="MIO_LASTDOWNLOADED" val="16.07.2021 12:20:08.961"/>
  <p:tag name="MIO_OBJECTNAME" val="Symrise Master"/>
  <p:tag name="MIO_CDID" val="6dbb67a4-9207-4945-b843-5716ea63da3c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External/Internal information;"/>
  <p:tag name="MIO_USER_INPUT_OPTIONS" val=";External  •  Copyright® 2021;External confidential  •  Copyright® 2021;Draft  •  Copyright® 2021;Internal  •  Copyright® 2021;Internal confidential  •  Copyright® 2021;For internal use only  •  Copyright® 202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External/Internal information;"/>
  <p:tag name="MIO_USER_INPUT_OPTIONS" val=" ;External  •  Copyright® 2021;External confidential  •  Copyright® 2021;Draft  •  Copyright® 2021;Internal  •  Copyright® 2021;Internal confidential  •  Copyright® 2021;For internal use only  •  Copyright® 202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External/Internal information;"/>
  <p:tag name="MIO_USER_INPUT_OPTIONS" val=" ;External  •  Copyright® 2021;External confidential  •  Copyright® 2021;Draft  •  Copyright® 2021;Internal  •  Copyright® 2021;Internal confidential  •  Copyright® 2021;For internal use only  •  Copyright® 202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External/Internal information;"/>
  <p:tag name="MIO_USER_INPUT_OPTIONS" val=";External  •  Copyright® 2021;External confidential  •  Copyright® 2021;Draft  •  Copyright® 2021;Internal  •  Copyright® 2021;Internal confidential  •  Copyright® 2021;For internal use only  •  Copyright® 202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External/Internal information;"/>
  <p:tag name="MIO_USER_INPUT_OPTIONS" val=";External  •  Copyright® 2021;External confidential  •  Copyright® 2021;Draft  •  Copyright® 2021;Internal  •  Copyright® 2021;Internal confidential  •  Copyright® 2021;For internal use only  •  Copyright® 202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External/Internal information;"/>
  <p:tag name="MIO_USER_INPUT_OPTIONS" val=" ;External  •  Copyright® 2021;External confidential  •  Copyright® 2021;Draft  •  Copyright® 2021;Internal  •  Copyright® 2021;Internal confidential  •  Copyright® 2021;For internal use only  •  Copyright® 202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External/Internal information;"/>
  <p:tag name="MIO_USER_INPUT_OPTIONS" val=";External  •  Copyright® 2021;External confidential  •  Copyright® 2021;Draft  •  Copyright® 2021;Internal  •  Copyright® 2021;Internal confidential  •  Copyright® 2021;For internal use only  •  Copyright® 202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23"/>
  <p:tag name="MIO_SHOW_DATE" val="False"/>
  <p:tag name="MIO_SHOW_FOOTER" val="True"/>
  <p:tag name="MIO_SHOW_PAGENUMBER" val="True"/>
  <p:tag name="MIO_AVOID_BLANK_LAYOUT" val="True"/>
  <p:tag name="MIO_CD_LAYOUT_VALID_AREA" val="False"/>
  <p:tag name="MIO_EMBED_FONT" val="False"/>
  <p:tag name="MIO_NUMBER_OF_VALID_LAYOUTS" val="26"/>
  <p:tag name="MIO_HDS" val="True"/>
  <p:tag name="MIO_SKIPVERSION" val="01.01.0001 00:00:00"/>
  <p:tag name="MIO_EKGUID" val="bfe5fd8b-a45f-4ff9-a800-3f9ab69f1ad1"/>
  <p:tag name="MIO_UPDATE" val="True"/>
  <p:tag name="MIO_VERSION" val="30.07.2021 14:24:33"/>
  <p:tag name="MIO_DBID" val="0F45B44C-9BC7-4D85-81C4-7155EE70A7B9"/>
  <p:tag name="MIO_LASTDOWNLOADED" val="30.07.2021 16:33:39.897"/>
  <p:tag name="MIO_OBJECTNAME" val="01 Symrise Corporate"/>
  <p:tag name="MIO_CDID" val="6dbb67a4-9207-4945-b843-5716ea63da3c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ymNew1">
  <a:themeElements>
    <a:clrScheme name="Symrise NEU">
      <a:dk1>
        <a:sysClr val="windowText" lastClr="000000"/>
      </a:dk1>
      <a:lt1>
        <a:sysClr val="window" lastClr="FFFFFF"/>
      </a:lt1>
      <a:dk2>
        <a:srgbClr val="DFDBCC"/>
      </a:dk2>
      <a:lt2>
        <a:srgbClr val="F3F2ED"/>
      </a:lt2>
      <a:accent1>
        <a:srgbClr val="C51718"/>
      </a:accent1>
      <a:accent2>
        <a:srgbClr val="E63121"/>
      </a:accent2>
      <a:accent3>
        <a:srgbClr val="A0140F"/>
      </a:accent3>
      <a:accent4>
        <a:srgbClr val="8B273D"/>
      </a:accent4>
      <a:accent5>
        <a:srgbClr val="8A734F"/>
      </a:accent5>
      <a:accent6>
        <a:srgbClr val="8A8B89"/>
      </a:accent6>
      <a:hlink>
        <a:srgbClr val="C51718"/>
      </a:hlink>
      <a:folHlink>
        <a:srgbClr val="8A8B89"/>
      </a:folHlink>
    </a:clrScheme>
    <a:fontScheme name="Symris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</a:spPr>
      <a:bodyPr wrap="square" lIns="91440" tIns="45720" rIns="91440" bIns="45720" rtlCol="0" anchor="ctr">
        <a:noAutofit/>
      </a:bodyPr>
      <a:lstStyle>
        <a:defPPr algn="l">
          <a:spcBef>
            <a:spcPts val="600"/>
          </a:spcBef>
          <a:defRPr dirty="0" err="1"/>
        </a:defPPr>
      </a:lstStyle>
    </a:spDef>
    <a:txDef>
      <a:spPr>
        <a:noFill/>
      </a:spPr>
      <a:bodyPr wrap="none" lIns="0" tIns="0" rIns="0" bIns="0" rtlCol="0">
        <a:spAutoFit/>
      </a:bodyPr>
      <a:lstStyle>
        <a:defPPr algn="l">
          <a:spcBef>
            <a:spcPts val="600"/>
          </a:spcBef>
          <a:defRPr sz="1400" dirty="0" err="1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ymNew1" id="{6659494C-70B8-4C1A-A321-B113A54FCB82}" vid="{328B706C-230D-48D5-BCB3-A2604EADCF04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ymNew1</Template>
  <TotalTime>554</TotalTime>
  <Words>15</Words>
  <Application>Microsoft Office PowerPoint</Application>
  <PresentationFormat>On-screen Show (16:9)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Segoe UI</vt:lpstr>
      <vt:lpstr>Symbol</vt:lpstr>
      <vt:lpstr>Times New Roman</vt:lpstr>
      <vt:lpstr>SymNew1</vt:lpstr>
      <vt:lpstr>think-cell Folie</vt:lpstr>
      <vt:lpstr>SYMRISE DISCRIMINATION TESTING OUTPUT </vt:lpstr>
    </vt:vector>
  </TitlesOfParts>
  <Company>Symris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uilz5</dc:creator>
  <cp:lastModifiedBy>Paritosh Gaiwak</cp:lastModifiedBy>
  <cp:revision>736</cp:revision>
  <cp:lastPrinted>2018-03-27T15:03:05Z</cp:lastPrinted>
  <dcterms:created xsi:type="dcterms:W3CDTF">2019-05-17T08:51:39Z</dcterms:created>
  <dcterms:modified xsi:type="dcterms:W3CDTF">2022-04-28T18:57:38Z</dcterms:modified>
</cp:coreProperties>
</file>